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08" r:id="rId5"/>
    <p:sldMasterId id="2147484322" r:id="rId6"/>
    <p:sldMasterId id="2147484374" r:id="rId7"/>
  </p:sldMasterIdLst>
  <p:notesMasterIdLst>
    <p:notesMasterId r:id="rId35"/>
  </p:notesMasterIdLst>
  <p:handoutMasterIdLst>
    <p:handoutMasterId r:id="rId36"/>
  </p:handoutMasterIdLst>
  <p:sldIdLst>
    <p:sldId id="332" r:id="rId8"/>
    <p:sldId id="341" r:id="rId9"/>
    <p:sldId id="342" r:id="rId10"/>
    <p:sldId id="343" r:id="rId11"/>
    <p:sldId id="344" r:id="rId12"/>
    <p:sldId id="345" r:id="rId13"/>
    <p:sldId id="346" r:id="rId14"/>
    <p:sldId id="347" r:id="rId15"/>
    <p:sldId id="348" r:id="rId16"/>
    <p:sldId id="349" r:id="rId17"/>
    <p:sldId id="358" r:id="rId18"/>
    <p:sldId id="350" r:id="rId19"/>
    <p:sldId id="351" r:id="rId20"/>
    <p:sldId id="352" r:id="rId21"/>
    <p:sldId id="353" r:id="rId22"/>
    <p:sldId id="354" r:id="rId23"/>
    <p:sldId id="355" r:id="rId24"/>
    <p:sldId id="356" r:id="rId25"/>
    <p:sldId id="359" r:id="rId26"/>
    <p:sldId id="360" r:id="rId27"/>
    <p:sldId id="361" r:id="rId28"/>
    <p:sldId id="362" r:id="rId29"/>
    <p:sldId id="363" r:id="rId30"/>
    <p:sldId id="364" r:id="rId31"/>
    <p:sldId id="357" r:id="rId32"/>
    <p:sldId id="331" r:id="rId33"/>
    <p:sldId id="340" r:id="rId34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uild 2015 Breakout Template" id="{D75A0D65-BF15-4822-BC6D-74C66FDCD9EE}">
          <p14:sldIdLst>
            <p14:sldId id="332"/>
            <p14:sldId id="341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358"/>
            <p14:sldId id="350"/>
            <p14:sldId id="351"/>
            <p14:sldId id="352"/>
            <p14:sldId id="353"/>
            <p14:sldId id="354"/>
            <p14:sldId id="355"/>
            <p14:sldId id="356"/>
            <p14:sldId id="359"/>
            <p14:sldId id="360"/>
            <p14:sldId id="361"/>
            <p14:sldId id="362"/>
            <p14:sldId id="363"/>
            <p14:sldId id="364"/>
            <p14:sldId id="357"/>
            <p14:sldId id="331"/>
            <p14:sldId id="3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98D0"/>
    <a:srgbClr val="57A64A"/>
    <a:srgbClr val="C38E75"/>
    <a:srgbClr val="202020"/>
    <a:srgbClr val="389E7E"/>
    <a:srgbClr val="01557E"/>
    <a:srgbClr val="FD7D7B"/>
    <a:srgbClr val="9078FC"/>
    <a:srgbClr val="F5F5F5"/>
    <a:srgbClr val="00FF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421" autoAdjust="0"/>
    <p:restoredTop sz="93353" autoAdjust="0"/>
  </p:normalViewPr>
  <p:slideViewPr>
    <p:cSldViewPr>
      <p:cViewPr>
        <p:scale>
          <a:sx n="50" d="100"/>
          <a:sy n="50" d="100"/>
        </p:scale>
        <p:origin x="1000" y="192"/>
      </p:cViewPr>
      <p:guideLst/>
    </p:cSldViewPr>
  </p:slideViewPr>
  <p:outlineViewPr>
    <p:cViewPr>
      <p:scale>
        <a:sx n="33" d="100"/>
        <a:sy n="33" d="100"/>
      </p:scale>
      <p:origin x="0" y="-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9/30/2015 6:56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9/30/2015 6:56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Completa </a:t>
            </a:r>
            <a:r>
              <a:rPr lang="es-ES" dirty="0" err="1" smtClean="0"/>
              <a:t>retrocomp</a:t>
            </a:r>
            <a:endParaRPr lang="es-ES" dirty="0" smtClean="0"/>
          </a:p>
          <a:p>
            <a:r>
              <a:rPr lang="es-ES" smtClean="0"/>
              <a:t>245 a 600 </a:t>
            </a:r>
            <a:r>
              <a:rPr lang="es-ES" dirty="0" err="1" smtClean="0"/>
              <a:t>pag</a:t>
            </a:r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5 6:56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91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latin typeface="Segoe UI" pitchFamily="34" charset="0"/>
              </a:rPr>
              <a:t>Build 2015</a:t>
            </a:r>
            <a:endParaRPr lang="en-US" dirty="0"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5 7:3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593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30/2015 6:56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910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Build 201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smtClean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 smtClean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>
                <a:solidFill>
                  <a:prstClr val="black"/>
                </a:solidFill>
              </a:rPr>
              <a:pPr/>
              <a:t>9/30/2015 6:56 P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360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41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46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452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2510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4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330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118852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7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866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002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35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92208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3667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93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62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>
              <a:defRPr lang="en-US" sz="3600" kern="1200" dirty="0" smtClean="0">
                <a:gradFill>
                  <a:gsLst>
                    <a:gs pos="12264">
                      <a:schemeClr val="tx1">
                        <a:lumMod val="75000"/>
                        <a:lumOff val="25000"/>
                      </a:schemeClr>
                    </a:gs>
                    <a:gs pos="71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207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  <a:p>
            <a:pPr marL="0" marR="0" lvl="1" indent="0" algn="l" defTabSz="914166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816"/>
              </a:spcAft>
              <a:buClr>
                <a:schemeClr val="tx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econd level</a:t>
            </a:r>
          </a:p>
          <a:p>
            <a:pPr marL="457082" lvl="2" indent="-228541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Char char="•"/>
            </a:pPr>
            <a:r>
              <a:rPr lang="en-US" dirty="0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42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217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199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49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 smtClean="0"/>
              <a:t>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A3C3B-4339-43D7-BF14-AEF901A287CC}" type="datetimeFigureOut">
              <a:rPr lang="en-US" smtClean="0"/>
              <a:t>9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A91B3-42F5-4484-9DF3-945048C42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040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9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3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3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2" y="307621"/>
            <a:ext cx="3656013" cy="572464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900" indent="0">
              <a:buNone/>
              <a:defRPr sz="2000"/>
            </a:lvl2pPr>
            <a:lvl3pPr marL="571500" indent="0">
              <a:buNone/>
              <a:defRPr sz="2000"/>
            </a:lvl3pPr>
            <a:lvl4pPr marL="800100" indent="0">
              <a:buNone/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7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0879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413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212850"/>
            <a:ext cx="6400800" cy="2782300"/>
          </a:xfrm>
        </p:spPr>
        <p:txBody>
          <a:bodyPr wrap="square"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761037" y="295274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00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452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126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3429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8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484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976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8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3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1534779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indent="-2413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indent="-342900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4166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280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1922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8" y="2473325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9837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7746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</a:t>
            </a:r>
            <a:r>
              <a:rPr lang="en-US" sz="700" dirty="0" smtClean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2015 </a:t>
            </a:r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32" y="3147122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350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4" y="2301239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2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39" y="2301050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266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6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8552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3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7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3"/>
            <a:ext cx="10058399" cy="18288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482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/>
          <a:lstStyle/>
          <a:p>
            <a:fld id="{4CED8391-71CF-4FD3-A093-40D26DE2D47C}" type="slidenum">
              <a:rPr lang="en-US" smtClean="0">
                <a:solidFill>
                  <a:srgbClr val="00188F"/>
                </a:solidFill>
              </a:rPr>
              <a:pPr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3"/>
            <a:ext cx="11460018" cy="36672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0892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9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6540" y="5783262"/>
            <a:ext cx="9142098" cy="902608"/>
          </a:xfrm>
          <a:noFill/>
        </p:spPr>
        <p:txBody>
          <a:bodyPr lIns="146304" tIns="109728" rIns="146304" bIns="109728" anchor="b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3" y="2117165"/>
            <a:ext cx="11887135" cy="1837298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" name="Freeform 3"/>
          <p:cNvSpPr>
            <a:spLocks noChangeAspect="1" noEditPoints="1"/>
          </p:cNvSpPr>
          <p:nvPr userDrawn="1"/>
        </p:nvSpPr>
        <p:spPr bwMode="black">
          <a:xfrm>
            <a:off x="10332994" y="6103269"/>
            <a:ext cx="1639861" cy="411480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703" y="307622"/>
            <a:ext cx="3656013" cy="578303"/>
          </a:xfrm>
        </p:spPr>
        <p:txBody>
          <a:bodyPr lIns="182880" tIns="146304" rIns="182880" bIns="146304"/>
          <a:lstStyle>
            <a:lvl1pPr marL="0" indent="0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 dirty="0" smtClean="0"/>
              <a:t>Session Cod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4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406">
          <p15:clr>
            <a:srgbClr val="C35E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43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22830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buNone/>
              <a:defRPr/>
            </a:lvl1pPr>
            <a:lvl2pPr marL="0" indent="0">
              <a:buNone/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0019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83629" y="1668463"/>
            <a:ext cx="877821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0" indent="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741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89838" y="1668463"/>
            <a:ext cx="4572000" cy="5029200"/>
          </a:xfrm>
        </p:spPr>
        <p:txBody>
          <a:bodyPr wrap="square">
            <a:no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90515" y="295275"/>
            <a:ext cx="4573689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97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1039" y="295275"/>
            <a:ext cx="6403165" cy="917575"/>
          </a:xfrm>
        </p:spPr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809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61038" y="1668463"/>
            <a:ext cx="6400800" cy="5029200"/>
          </a:xfrm>
        </p:spPr>
        <p:txBody>
          <a:bodyPr wrap="square">
            <a:noAutofit/>
          </a:bodyPr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 sz="24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4541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9038" y="2125664"/>
            <a:ext cx="10058399" cy="1828800"/>
          </a:xfrm>
        </p:spPr>
        <p:txBody>
          <a:bodyPr/>
          <a:lstStyle>
            <a:lvl1pPr>
              <a:defRPr sz="4799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28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900" indent="-342900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390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48" y="1668463"/>
            <a:ext cx="2743200" cy="5029200"/>
          </a:xfrm>
        </p:spPr>
        <p:txBody>
          <a:bodyPr>
            <a:noAutofit/>
          </a:bodyPr>
          <a:lstStyle>
            <a:lvl1pPr marL="342834" indent="-342834">
              <a:buNone/>
              <a:defRPr kumimoji="0" lang="en-US" sz="2400" b="0" i="0" u="none" strike="noStrike" kern="1200" cap="none" spc="0" normalizeH="0" baseline="0" dirty="0" smtClean="0">
                <a:ln>
                  <a:noFill/>
                </a:ln>
                <a:gradFill>
                  <a:gsLst>
                    <a:gs pos="100000">
                      <a:srgbClr val="000000">
                        <a:lumMod val="75000"/>
                        <a:lumOff val="25000"/>
                      </a:srgbClr>
                    </a:gs>
                    <a:gs pos="0">
                      <a:srgbClr val="000000">
                        <a:lumMod val="75000"/>
                        <a:lumOff val="25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39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332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599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039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599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799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9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3999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0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33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9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599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3991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167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1565332"/>
          </a:xfrm>
        </p:spPr>
        <p:txBody>
          <a:bodyPr>
            <a:spAutoFit/>
          </a:bodyPr>
          <a:lstStyle>
            <a:lvl1pPr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088" indent="-241253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332" indent="-342834">
              <a:defRPr lang="en-US" sz="2400" kern="1200" dirty="0" smtClean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  <a:p>
            <a:pPr marL="0" lvl="1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Second level</a:t>
            </a:r>
          </a:p>
          <a:p>
            <a:pPr marL="0" lvl="2" indent="0" algn="l" defTabSz="913991" rtl="0" eaLnBrk="1" latinLnBrk="0" hangingPunct="1">
              <a:spcBef>
                <a:spcPct val="20000"/>
              </a:spcBef>
              <a:spcAft>
                <a:spcPts val="816"/>
              </a:spcAft>
              <a:buFont typeface="Arial" pitchFamily="34" charset="0"/>
              <a:buNone/>
            </a:pPr>
            <a:r>
              <a:rPr lang="en-US" smtClean="0"/>
              <a:t>Third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0028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22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 userDrawn="1"/>
        </p:nvSpPr>
        <p:spPr bwMode="black">
          <a:xfrm>
            <a:off x="2137569" y="2473326"/>
            <a:ext cx="8161338" cy="2047875"/>
          </a:xfrm>
          <a:custGeom>
            <a:avLst/>
            <a:gdLst>
              <a:gd name="T0" fmla="*/ 336 w 2176"/>
              <a:gd name="T1" fmla="*/ 2 h 546"/>
              <a:gd name="T2" fmla="*/ 269 w 2176"/>
              <a:gd name="T3" fmla="*/ 2 h 546"/>
              <a:gd name="T4" fmla="*/ 48 w 2176"/>
              <a:gd name="T5" fmla="*/ 538 h 546"/>
              <a:gd name="T6" fmla="*/ 2128 w 2176"/>
              <a:gd name="T7" fmla="*/ 2 h 546"/>
              <a:gd name="T8" fmla="*/ 2176 w 2176"/>
              <a:gd name="T9" fmla="*/ 2 h 546"/>
              <a:gd name="T10" fmla="*/ 1049 w 2176"/>
              <a:gd name="T11" fmla="*/ 175 h 546"/>
              <a:gd name="T12" fmla="*/ 1025 w 2176"/>
              <a:gd name="T13" fmla="*/ 454 h 546"/>
              <a:gd name="T14" fmla="*/ 937 w 2176"/>
              <a:gd name="T15" fmla="*/ 473 h 546"/>
              <a:gd name="T16" fmla="*/ 892 w 2176"/>
              <a:gd name="T17" fmla="*/ 384 h 546"/>
              <a:gd name="T18" fmla="*/ 809 w 2176"/>
              <a:gd name="T19" fmla="*/ 394 h 546"/>
              <a:gd name="T20" fmla="*/ 975 w 2176"/>
              <a:gd name="T21" fmla="*/ 540 h 546"/>
              <a:gd name="T22" fmla="*/ 1048 w 2176"/>
              <a:gd name="T23" fmla="*/ 482 h 546"/>
              <a:gd name="T24" fmla="*/ 1131 w 2176"/>
              <a:gd name="T25" fmla="*/ 536 h 546"/>
              <a:gd name="T26" fmla="*/ 1293 w 2176"/>
              <a:gd name="T27" fmla="*/ 14 h 546"/>
              <a:gd name="T28" fmla="*/ 1238 w 2176"/>
              <a:gd name="T29" fmla="*/ 3 h 546"/>
              <a:gd name="T30" fmla="*/ 1207 w 2176"/>
              <a:gd name="T31" fmla="*/ 48 h 546"/>
              <a:gd name="T32" fmla="*/ 1237 w 2176"/>
              <a:gd name="T33" fmla="*/ 91 h 546"/>
              <a:gd name="T34" fmla="*/ 1293 w 2176"/>
              <a:gd name="T35" fmla="*/ 81 h 546"/>
              <a:gd name="T36" fmla="*/ 1216 w 2176"/>
              <a:gd name="T37" fmla="*/ 536 h 546"/>
              <a:gd name="T38" fmla="*/ 1216 w 2176"/>
              <a:gd name="T39" fmla="*/ 175 h 546"/>
              <a:gd name="T40" fmla="*/ 1457 w 2176"/>
              <a:gd name="T41" fmla="*/ 536 h 546"/>
              <a:gd name="T42" fmla="*/ 1376 w 2176"/>
              <a:gd name="T43" fmla="*/ 536 h 546"/>
              <a:gd name="T44" fmla="*/ 729 w 2176"/>
              <a:gd name="T45" fmla="*/ 213 h 546"/>
              <a:gd name="T46" fmla="*/ 573 w 2176"/>
              <a:gd name="T47" fmla="*/ 163 h 546"/>
              <a:gd name="T48" fmla="*/ 491 w 2176"/>
              <a:gd name="T49" fmla="*/ 226 h 546"/>
              <a:gd name="T50" fmla="*/ 460 w 2176"/>
              <a:gd name="T51" fmla="*/ 2 h 546"/>
              <a:gd name="T52" fmla="*/ 489 w 2176"/>
              <a:gd name="T53" fmla="*/ 537 h 546"/>
              <a:gd name="T54" fmla="*/ 509 w 2176"/>
              <a:gd name="T55" fmla="*/ 512 h 546"/>
              <a:gd name="T56" fmla="*/ 596 w 2176"/>
              <a:gd name="T57" fmla="*/ 546 h 546"/>
              <a:gd name="T58" fmla="*/ 754 w 2176"/>
              <a:gd name="T59" fmla="*/ 423 h 546"/>
              <a:gd name="T60" fmla="*/ 671 w 2176"/>
              <a:gd name="T61" fmla="*/ 400 h 546"/>
              <a:gd name="T62" fmla="*/ 578 w 2176"/>
              <a:gd name="T63" fmla="*/ 478 h 546"/>
              <a:gd name="T64" fmla="*/ 495 w 2176"/>
              <a:gd name="T65" fmla="*/ 421 h 546"/>
              <a:gd name="T66" fmla="*/ 496 w 2176"/>
              <a:gd name="T67" fmla="*/ 291 h 546"/>
              <a:gd name="T68" fmla="*/ 586 w 2176"/>
              <a:gd name="T69" fmla="*/ 226 h 546"/>
              <a:gd name="T70" fmla="*/ 672 w 2176"/>
              <a:gd name="T71" fmla="*/ 293 h 546"/>
              <a:gd name="T72" fmla="*/ 1866 w 2176"/>
              <a:gd name="T73" fmla="*/ 2 h 546"/>
              <a:gd name="T74" fmla="*/ 1783 w 2176"/>
              <a:gd name="T75" fmla="*/ 220 h 546"/>
              <a:gd name="T76" fmla="*/ 1716 w 2176"/>
              <a:gd name="T77" fmla="*/ 171 h 546"/>
              <a:gd name="T78" fmla="*/ 1561 w 2176"/>
              <a:gd name="T79" fmla="*/ 220 h 546"/>
              <a:gd name="T80" fmla="*/ 1526 w 2176"/>
              <a:gd name="T81" fmla="*/ 443 h 546"/>
              <a:gd name="T82" fmla="*/ 1665 w 2176"/>
              <a:gd name="T83" fmla="*/ 546 h 546"/>
              <a:gd name="T84" fmla="*/ 1763 w 2176"/>
              <a:gd name="T85" fmla="*/ 507 h 546"/>
              <a:gd name="T86" fmla="*/ 1785 w 2176"/>
              <a:gd name="T87" fmla="*/ 537 h 546"/>
              <a:gd name="T88" fmla="*/ 1778 w 2176"/>
              <a:gd name="T89" fmla="*/ 413 h 546"/>
              <a:gd name="T90" fmla="*/ 1692 w 2176"/>
              <a:gd name="T91" fmla="*/ 479 h 546"/>
              <a:gd name="T92" fmla="*/ 1607 w 2176"/>
              <a:gd name="T93" fmla="*/ 414 h 546"/>
              <a:gd name="T94" fmla="*/ 1624 w 2176"/>
              <a:gd name="T95" fmla="*/ 269 h 546"/>
              <a:gd name="T96" fmla="*/ 1732 w 2176"/>
              <a:gd name="T97" fmla="*/ 241 h 546"/>
              <a:gd name="T98" fmla="*/ 1786 w 2176"/>
              <a:gd name="T99" fmla="*/ 326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176" h="546">
                <a:moveTo>
                  <a:pt x="163" y="538"/>
                </a:moveTo>
                <a:cubicBezTo>
                  <a:pt x="116" y="538"/>
                  <a:pt x="116" y="538"/>
                  <a:pt x="116" y="538"/>
                </a:cubicBezTo>
                <a:cubicBezTo>
                  <a:pt x="336" y="2"/>
                  <a:pt x="336" y="2"/>
                  <a:pt x="336" y="2"/>
                </a:cubicBezTo>
                <a:cubicBezTo>
                  <a:pt x="384" y="2"/>
                  <a:pt x="384" y="2"/>
                  <a:pt x="384" y="2"/>
                </a:cubicBezTo>
                <a:lnTo>
                  <a:pt x="163" y="538"/>
                </a:lnTo>
                <a:close/>
                <a:moveTo>
                  <a:pt x="269" y="2"/>
                </a:moveTo>
                <a:cubicBezTo>
                  <a:pt x="221" y="2"/>
                  <a:pt x="221" y="2"/>
                  <a:pt x="221" y="2"/>
                </a:cubicBezTo>
                <a:cubicBezTo>
                  <a:pt x="0" y="538"/>
                  <a:pt x="0" y="538"/>
                  <a:pt x="0" y="538"/>
                </a:cubicBezTo>
                <a:cubicBezTo>
                  <a:pt x="48" y="538"/>
                  <a:pt x="48" y="538"/>
                  <a:pt x="48" y="538"/>
                </a:cubicBezTo>
                <a:lnTo>
                  <a:pt x="269" y="2"/>
                </a:lnTo>
                <a:close/>
                <a:moveTo>
                  <a:pt x="2176" y="2"/>
                </a:moveTo>
                <a:cubicBezTo>
                  <a:pt x="2128" y="2"/>
                  <a:pt x="2128" y="2"/>
                  <a:pt x="2128" y="2"/>
                </a:cubicBezTo>
                <a:cubicBezTo>
                  <a:pt x="1908" y="538"/>
                  <a:pt x="1908" y="538"/>
                  <a:pt x="1908" y="538"/>
                </a:cubicBezTo>
                <a:cubicBezTo>
                  <a:pt x="1955" y="538"/>
                  <a:pt x="1955" y="538"/>
                  <a:pt x="1955" y="538"/>
                </a:cubicBezTo>
                <a:lnTo>
                  <a:pt x="2176" y="2"/>
                </a:lnTo>
                <a:close/>
                <a:moveTo>
                  <a:pt x="1131" y="536"/>
                </a:moveTo>
                <a:cubicBezTo>
                  <a:pt x="1131" y="175"/>
                  <a:pt x="1131" y="175"/>
                  <a:pt x="1131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9" y="384"/>
                  <a:pt x="1049" y="384"/>
                  <a:pt x="1049" y="384"/>
                </a:cubicBezTo>
                <a:cubicBezTo>
                  <a:pt x="1049" y="399"/>
                  <a:pt x="1047" y="412"/>
                  <a:pt x="1042" y="424"/>
                </a:cubicBezTo>
                <a:cubicBezTo>
                  <a:pt x="1038" y="436"/>
                  <a:pt x="1032" y="446"/>
                  <a:pt x="1025" y="454"/>
                </a:cubicBezTo>
                <a:cubicBezTo>
                  <a:pt x="1017" y="462"/>
                  <a:pt x="1009" y="468"/>
                  <a:pt x="999" y="472"/>
                </a:cubicBezTo>
                <a:cubicBezTo>
                  <a:pt x="989" y="476"/>
                  <a:pt x="978" y="478"/>
                  <a:pt x="967" y="478"/>
                </a:cubicBezTo>
                <a:cubicBezTo>
                  <a:pt x="956" y="478"/>
                  <a:pt x="946" y="476"/>
                  <a:pt x="937" y="473"/>
                </a:cubicBezTo>
                <a:cubicBezTo>
                  <a:pt x="927" y="470"/>
                  <a:pt x="920" y="464"/>
                  <a:pt x="913" y="457"/>
                </a:cubicBezTo>
                <a:cubicBezTo>
                  <a:pt x="906" y="449"/>
                  <a:pt x="901" y="440"/>
                  <a:pt x="897" y="428"/>
                </a:cubicBezTo>
                <a:cubicBezTo>
                  <a:pt x="894" y="416"/>
                  <a:pt x="892" y="401"/>
                  <a:pt x="892" y="384"/>
                </a:cubicBezTo>
                <a:cubicBezTo>
                  <a:pt x="892" y="175"/>
                  <a:pt x="892" y="175"/>
                  <a:pt x="892" y="175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09" y="394"/>
                  <a:pt x="809" y="394"/>
                  <a:pt x="809" y="394"/>
                </a:cubicBezTo>
                <a:cubicBezTo>
                  <a:pt x="809" y="444"/>
                  <a:pt x="821" y="482"/>
                  <a:pt x="843" y="507"/>
                </a:cubicBezTo>
                <a:cubicBezTo>
                  <a:pt x="865" y="532"/>
                  <a:pt x="897" y="545"/>
                  <a:pt x="939" y="545"/>
                </a:cubicBezTo>
                <a:cubicBezTo>
                  <a:pt x="951" y="545"/>
                  <a:pt x="963" y="543"/>
                  <a:pt x="975" y="540"/>
                </a:cubicBezTo>
                <a:cubicBezTo>
                  <a:pt x="986" y="537"/>
                  <a:pt x="996" y="532"/>
                  <a:pt x="1005" y="526"/>
                </a:cubicBezTo>
                <a:cubicBezTo>
                  <a:pt x="1014" y="521"/>
                  <a:pt x="1022" y="514"/>
                  <a:pt x="1029" y="506"/>
                </a:cubicBezTo>
                <a:cubicBezTo>
                  <a:pt x="1037" y="499"/>
                  <a:pt x="1043" y="490"/>
                  <a:pt x="1048" y="482"/>
                </a:cubicBezTo>
                <a:cubicBezTo>
                  <a:pt x="1049" y="482"/>
                  <a:pt x="1049" y="482"/>
                  <a:pt x="1049" y="482"/>
                </a:cubicBezTo>
                <a:cubicBezTo>
                  <a:pt x="1049" y="536"/>
                  <a:pt x="1049" y="536"/>
                  <a:pt x="1049" y="536"/>
                </a:cubicBezTo>
                <a:lnTo>
                  <a:pt x="1131" y="536"/>
                </a:lnTo>
                <a:close/>
                <a:moveTo>
                  <a:pt x="1307" y="48"/>
                </a:moveTo>
                <a:cubicBezTo>
                  <a:pt x="1307" y="41"/>
                  <a:pt x="1306" y="35"/>
                  <a:pt x="1303" y="29"/>
                </a:cubicBezTo>
                <a:cubicBezTo>
                  <a:pt x="1301" y="23"/>
                  <a:pt x="1297" y="18"/>
                  <a:pt x="1293" y="14"/>
                </a:cubicBezTo>
                <a:cubicBezTo>
                  <a:pt x="1288" y="9"/>
                  <a:pt x="1283" y="6"/>
                  <a:pt x="1277" y="3"/>
                </a:cubicBezTo>
                <a:cubicBezTo>
                  <a:pt x="1271" y="1"/>
                  <a:pt x="1264" y="0"/>
                  <a:pt x="1257" y="0"/>
                </a:cubicBezTo>
                <a:cubicBezTo>
                  <a:pt x="1250" y="0"/>
                  <a:pt x="1244" y="1"/>
                  <a:pt x="1238" y="3"/>
                </a:cubicBezTo>
                <a:cubicBezTo>
                  <a:pt x="1232" y="6"/>
                  <a:pt x="1226" y="9"/>
                  <a:pt x="1222" y="13"/>
                </a:cubicBezTo>
                <a:cubicBezTo>
                  <a:pt x="1217" y="18"/>
                  <a:pt x="1214" y="23"/>
                  <a:pt x="1211" y="29"/>
                </a:cubicBezTo>
                <a:cubicBezTo>
                  <a:pt x="1209" y="34"/>
                  <a:pt x="1207" y="41"/>
                  <a:pt x="1207" y="48"/>
                </a:cubicBezTo>
                <a:cubicBezTo>
                  <a:pt x="1207" y="54"/>
                  <a:pt x="1209" y="60"/>
                  <a:pt x="1211" y="66"/>
                </a:cubicBezTo>
                <a:cubicBezTo>
                  <a:pt x="1214" y="72"/>
                  <a:pt x="1217" y="77"/>
                  <a:pt x="1221" y="81"/>
                </a:cubicBezTo>
                <a:cubicBezTo>
                  <a:pt x="1226" y="85"/>
                  <a:pt x="1231" y="88"/>
                  <a:pt x="1237" y="91"/>
                </a:cubicBezTo>
                <a:cubicBezTo>
                  <a:pt x="1243" y="93"/>
                  <a:pt x="1250" y="95"/>
                  <a:pt x="1257" y="95"/>
                </a:cubicBezTo>
                <a:cubicBezTo>
                  <a:pt x="1264" y="95"/>
                  <a:pt x="1271" y="93"/>
                  <a:pt x="1277" y="91"/>
                </a:cubicBezTo>
                <a:cubicBezTo>
                  <a:pt x="1283" y="88"/>
                  <a:pt x="1289" y="85"/>
                  <a:pt x="1293" y="81"/>
                </a:cubicBezTo>
                <a:cubicBezTo>
                  <a:pt x="1297" y="77"/>
                  <a:pt x="1301" y="72"/>
                  <a:pt x="1303" y="66"/>
                </a:cubicBezTo>
                <a:cubicBezTo>
                  <a:pt x="1306" y="60"/>
                  <a:pt x="1307" y="54"/>
                  <a:pt x="1307" y="48"/>
                </a:cubicBezTo>
                <a:moveTo>
                  <a:pt x="1216" y="536"/>
                </a:moveTo>
                <a:cubicBezTo>
                  <a:pt x="1297" y="536"/>
                  <a:pt x="1297" y="536"/>
                  <a:pt x="1297" y="536"/>
                </a:cubicBezTo>
                <a:cubicBezTo>
                  <a:pt x="1297" y="175"/>
                  <a:pt x="1297" y="175"/>
                  <a:pt x="1297" y="175"/>
                </a:cubicBezTo>
                <a:cubicBezTo>
                  <a:pt x="1216" y="175"/>
                  <a:pt x="1216" y="175"/>
                  <a:pt x="1216" y="175"/>
                </a:cubicBezTo>
                <a:lnTo>
                  <a:pt x="1216" y="536"/>
                </a:lnTo>
                <a:close/>
                <a:moveTo>
                  <a:pt x="1376" y="536"/>
                </a:moveTo>
                <a:cubicBezTo>
                  <a:pt x="1457" y="536"/>
                  <a:pt x="1457" y="536"/>
                  <a:pt x="1457" y="536"/>
                </a:cubicBezTo>
                <a:cubicBezTo>
                  <a:pt x="1457" y="2"/>
                  <a:pt x="1457" y="2"/>
                  <a:pt x="1457" y="2"/>
                </a:cubicBezTo>
                <a:cubicBezTo>
                  <a:pt x="1376" y="2"/>
                  <a:pt x="1376" y="2"/>
                  <a:pt x="1376" y="2"/>
                </a:cubicBezTo>
                <a:lnTo>
                  <a:pt x="1376" y="536"/>
                </a:lnTo>
                <a:close/>
                <a:moveTo>
                  <a:pt x="765" y="342"/>
                </a:moveTo>
                <a:cubicBezTo>
                  <a:pt x="765" y="317"/>
                  <a:pt x="762" y="294"/>
                  <a:pt x="756" y="272"/>
                </a:cubicBezTo>
                <a:cubicBezTo>
                  <a:pt x="750" y="249"/>
                  <a:pt x="741" y="230"/>
                  <a:pt x="729" y="213"/>
                </a:cubicBezTo>
                <a:cubicBezTo>
                  <a:pt x="717" y="196"/>
                  <a:pt x="701" y="183"/>
                  <a:pt x="682" y="173"/>
                </a:cubicBezTo>
                <a:cubicBezTo>
                  <a:pt x="663" y="163"/>
                  <a:pt x="640" y="158"/>
                  <a:pt x="613" y="158"/>
                </a:cubicBezTo>
                <a:cubicBezTo>
                  <a:pt x="599" y="158"/>
                  <a:pt x="585" y="160"/>
                  <a:pt x="573" y="163"/>
                </a:cubicBezTo>
                <a:cubicBezTo>
                  <a:pt x="561" y="166"/>
                  <a:pt x="549" y="171"/>
                  <a:pt x="539" y="177"/>
                </a:cubicBezTo>
                <a:cubicBezTo>
                  <a:pt x="529" y="183"/>
                  <a:pt x="520" y="190"/>
                  <a:pt x="512" y="199"/>
                </a:cubicBezTo>
                <a:cubicBezTo>
                  <a:pt x="504" y="207"/>
                  <a:pt x="497" y="216"/>
                  <a:pt x="491" y="226"/>
                </a:cubicBezTo>
                <a:cubicBezTo>
                  <a:pt x="489" y="226"/>
                  <a:pt x="489" y="226"/>
                  <a:pt x="489" y="226"/>
                </a:cubicBezTo>
                <a:cubicBezTo>
                  <a:pt x="489" y="2"/>
                  <a:pt x="489" y="2"/>
                  <a:pt x="489" y="2"/>
                </a:cubicBezTo>
                <a:cubicBezTo>
                  <a:pt x="460" y="2"/>
                  <a:pt x="460" y="2"/>
                  <a:pt x="460" y="2"/>
                </a:cubicBezTo>
                <a:cubicBezTo>
                  <a:pt x="406" y="133"/>
                  <a:pt x="406" y="133"/>
                  <a:pt x="406" y="133"/>
                </a:cubicBezTo>
                <a:cubicBezTo>
                  <a:pt x="406" y="537"/>
                  <a:pt x="406" y="537"/>
                  <a:pt x="406" y="537"/>
                </a:cubicBezTo>
                <a:cubicBezTo>
                  <a:pt x="489" y="537"/>
                  <a:pt x="489" y="537"/>
                  <a:pt x="489" y="537"/>
                </a:cubicBezTo>
                <a:cubicBezTo>
                  <a:pt x="489" y="490"/>
                  <a:pt x="489" y="490"/>
                  <a:pt x="489" y="490"/>
                </a:cubicBezTo>
                <a:cubicBezTo>
                  <a:pt x="491" y="490"/>
                  <a:pt x="491" y="490"/>
                  <a:pt x="491" y="490"/>
                </a:cubicBezTo>
                <a:cubicBezTo>
                  <a:pt x="496" y="498"/>
                  <a:pt x="502" y="505"/>
                  <a:pt x="509" y="512"/>
                </a:cubicBezTo>
                <a:cubicBezTo>
                  <a:pt x="515" y="519"/>
                  <a:pt x="523" y="525"/>
                  <a:pt x="532" y="530"/>
                </a:cubicBezTo>
                <a:cubicBezTo>
                  <a:pt x="540" y="535"/>
                  <a:pt x="550" y="539"/>
                  <a:pt x="561" y="542"/>
                </a:cubicBezTo>
                <a:cubicBezTo>
                  <a:pt x="571" y="544"/>
                  <a:pt x="583" y="546"/>
                  <a:pt x="596" y="546"/>
                </a:cubicBezTo>
                <a:cubicBezTo>
                  <a:pt x="623" y="546"/>
                  <a:pt x="647" y="541"/>
                  <a:pt x="668" y="530"/>
                </a:cubicBezTo>
                <a:cubicBezTo>
                  <a:pt x="689" y="520"/>
                  <a:pt x="707" y="506"/>
                  <a:pt x="721" y="488"/>
                </a:cubicBezTo>
                <a:cubicBezTo>
                  <a:pt x="736" y="470"/>
                  <a:pt x="747" y="448"/>
                  <a:pt x="754" y="423"/>
                </a:cubicBezTo>
                <a:cubicBezTo>
                  <a:pt x="761" y="398"/>
                  <a:pt x="765" y="371"/>
                  <a:pt x="765" y="342"/>
                </a:cubicBezTo>
                <a:moveTo>
                  <a:pt x="678" y="341"/>
                </a:moveTo>
                <a:cubicBezTo>
                  <a:pt x="678" y="363"/>
                  <a:pt x="676" y="383"/>
                  <a:pt x="671" y="400"/>
                </a:cubicBezTo>
                <a:cubicBezTo>
                  <a:pt x="667" y="418"/>
                  <a:pt x="660" y="432"/>
                  <a:pt x="651" y="443"/>
                </a:cubicBezTo>
                <a:cubicBezTo>
                  <a:pt x="643" y="455"/>
                  <a:pt x="632" y="463"/>
                  <a:pt x="620" y="469"/>
                </a:cubicBezTo>
                <a:cubicBezTo>
                  <a:pt x="607" y="475"/>
                  <a:pt x="593" y="478"/>
                  <a:pt x="578" y="478"/>
                </a:cubicBezTo>
                <a:cubicBezTo>
                  <a:pt x="565" y="478"/>
                  <a:pt x="553" y="475"/>
                  <a:pt x="542" y="470"/>
                </a:cubicBezTo>
                <a:cubicBezTo>
                  <a:pt x="531" y="466"/>
                  <a:pt x="522" y="459"/>
                  <a:pt x="514" y="450"/>
                </a:cubicBezTo>
                <a:cubicBezTo>
                  <a:pt x="506" y="442"/>
                  <a:pt x="500" y="432"/>
                  <a:pt x="495" y="421"/>
                </a:cubicBezTo>
                <a:cubicBezTo>
                  <a:pt x="491" y="410"/>
                  <a:pt x="488" y="397"/>
                  <a:pt x="488" y="384"/>
                </a:cubicBezTo>
                <a:cubicBezTo>
                  <a:pt x="488" y="336"/>
                  <a:pt x="488" y="336"/>
                  <a:pt x="488" y="336"/>
                </a:cubicBezTo>
                <a:cubicBezTo>
                  <a:pt x="488" y="319"/>
                  <a:pt x="491" y="304"/>
                  <a:pt x="496" y="291"/>
                </a:cubicBezTo>
                <a:cubicBezTo>
                  <a:pt x="500" y="278"/>
                  <a:pt x="507" y="266"/>
                  <a:pt x="516" y="257"/>
                </a:cubicBezTo>
                <a:cubicBezTo>
                  <a:pt x="524" y="247"/>
                  <a:pt x="534" y="240"/>
                  <a:pt x="546" y="234"/>
                </a:cubicBezTo>
                <a:cubicBezTo>
                  <a:pt x="558" y="229"/>
                  <a:pt x="571" y="226"/>
                  <a:pt x="586" y="226"/>
                </a:cubicBezTo>
                <a:cubicBezTo>
                  <a:pt x="601" y="226"/>
                  <a:pt x="614" y="229"/>
                  <a:pt x="625" y="234"/>
                </a:cubicBezTo>
                <a:cubicBezTo>
                  <a:pt x="636" y="240"/>
                  <a:pt x="646" y="247"/>
                  <a:pt x="654" y="257"/>
                </a:cubicBezTo>
                <a:cubicBezTo>
                  <a:pt x="662" y="267"/>
                  <a:pt x="668" y="279"/>
                  <a:pt x="672" y="293"/>
                </a:cubicBezTo>
                <a:cubicBezTo>
                  <a:pt x="676" y="307"/>
                  <a:pt x="678" y="323"/>
                  <a:pt x="678" y="341"/>
                </a:cubicBezTo>
                <a:moveTo>
                  <a:pt x="1866" y="537"/>
                </a:moveTo>
                <a:cubicBezTo>
                  <a:pt x="1866" y="2"/>
                  <a:pt x="1866" y="2"/>
                  <a:pt x="1866" y="2"/>
                </a:cubicBezTo>
                <a:cubicBezTo>
                  <a:pt x="1785" y="2"/>
                  <a:pt x="1785" y="2"/>
                  <a:pt x="1785" y="2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3" y="220"/>
                  <a:pt x="1783" y="220"/>
                  <a:pt x="1783" y="220"/>
                </a:cubicBezTo>
                <a:cubicBezTo>
                  <a:pt x="1779" y="213"/>
                  <a:pt x="1773" y="206"/>
                  <a:pt x="1767" y="199"/>
                </a:cubicBezTo>
                <a:cubicBezTo>
                  <a:pt x="1760" y="192"/>
                  <a:pt x="1753" y="187"/>
                  <a:pt x="1744" y="182"/>
                </a:cubicBezTo>
                <a:cubicBezTo>
                  <a:pt x="1736" y="177"/>
                  <a:pt x="1726" y="173"/>
                  <a:pt x="1716" y="171"/>
                </a:cubicBezTo>
                <a:cubicBezTo>
                  <a:pt x="1705" y="168"/>
                  <a:pt x="1693" y="167"/>
                  <a:pt x="1681" y="167"/>
                </a:cubicBezTo>
                <a:cubicBezTo>
                  <a:pt x="1656" y="167"/>
                  <a:pt x="1633" y="171"/>
                  <a:pt x="1613" y="181"/>
                </a:cubicBezTo>
                <a:cubicBezTo>
                  <a:pt x="1592" y="190"/>
                  <a:pt x="1575" y="203"/>
                  <a:pt x="1561" y="220"/>
                </a:cubicBezTo>
                <a:cubicBezTo>
                  <a:pt x="1546" y="238"/>
                  <a:pt x="1535" y="259"/>
                  <a:pt x="1527" y="283"/>
                </a:cubicBezTo>
                <a:cubicBezTo>
                  <a:pt x="1519" y="308"/>
                  <a:pt x="1515" y="335"/>
                  <a:pt x="1515" y="365"/>
                </a:cubicBezTo>
                <a:cubicBezTo>
                  <a:pt x="1515" y="394"/>
                  <a:pt x="1519" y="420"/>
                  <a:pt x="1526" y="443"/>
                </a:cubicBezTo>
                <a:cubicBezTo>
                  <a:pt x="1534" y="465"/>
                  <a:pt x="1544" y="484"/>
                  <a:pt x="1558" y="500"/>
                </a:cubicBezTo>
                <a:cubicBezTo>
                  <a:pt x="1571" y="515"/>
                  <a:pt x="1587" y="526"/>
                  <a:pt x="1605" y="534"/>
                </a:cubicBezTo>
                <a:cubicBezTo>
                  <a:pt x="1624" y="542"/>
                  <a:pt x="1643" y="546"/>
                  <a:pt x="1665" y="546"/>
                </a:cubicBezTo>
                <a:cubicBezTo>
                  <a:pt x="1679" y="546"/>
                  <a:pt x="1693" y="544"/>
                  <a:pt x="1705" y="541"/>
                </a:cubicBezTo>
                <a:cubicBezTo>
                  <a:pt x="1717" y="538"/>
                  <a:pt x="1728" y="533"/>
                  <a:pt x="1737" y="528"/>
                </a:cubicBezTo>
                <a:cubicBezTo>
                  <a:pt x="1747" y="522"/>
                  <a:pt x="1756" y="515"/>
                  <a:pt x="1763" y="507"/>
                </a:cubicBezTo>
                <a:cubicBezTo>
                  <a:pt x="1771" y="499"/>
                  <a:pt x="1778" y="490"/>
                  <a:pt x="1783" y="480"/>
                </a:cubicBezTo>
                <a:cubicBezTo>
                  <a:pt x="1785" y="480"/>
                  <a:pt x="1785" y="480"/>
                  <a:pt x="1785" y="480"/>
                </a:cubicBezTo>
                <a:cubicBezTo>
                  <a:pt x="1785" y="537"/>
                  <a:pt x="1785" y="537"/>
                  <a:pt x="1785" y="537"/>
                </a:cubicBezTo>
                <a:lnTo>
                  <a:pt x="1866" y="537"/>
                </a:lnTo>
                <a:close/>
                <a:moveTo>
                  <a:pt x="1786" y="366"/>
                </a:moveTo>
                <a:cubicBezTo>
                  <a:pt x="1786" y="384"/>
                  <a:pt x="1783" y="399"/>
                  <a:pt x="1778" y="413"/>
                </a:cubicBezTo>
                <a:cubicBezTo>
                  <a:pt x="1773" y="427"/>
                  <a:pt x="1767" y="439"/>
                  <a:pt x="1758" y="449"/>
                </a:cubicBezTo>
                <a:cubicBezTo>
                  <a:pt x="1750" y="458"/>
                  <a:pt x="1740" y="466"/>
                  <a:pt x="1728" y="471"/>
                </a:cubicBezTo>
                <a:cubicBezTo>
                  <a:pt x="1717" y="476"/>
                  <a:pt x="1705" y="479"/>
                  <a:pt x="1692" y="479"/>
                </a:cubicBezTo>
                <a:cubicBezTo>
                  <a:pt x="1679" y="479"/>
                  <a:pt x="1667" y="477"/>
                  <a:pt x="1656" y="472"/>
                </a:cubicBezTo>
                <a:cubicBezTo>
                  <a:pt x="1644" y="467"/>
                  <a:pt x="1635" y="460"/>
                  <a:pt x="1626" y="450"/>
                </a:cubicBezTo>
                <a:cubicBezTo>
                  <a:pt x="1618" y="440"/>
                  <a:pt x="1612" y="428"/>
                  <a:pt x="1607" y="414"/>
                </a:cubicBezTo>
                <a:cubicBezTo>
                  <a:pt x="1602" y="399"/>
                  <a:pt x="1600" y="382"/>
                  <a:pt x="1600" y="363"/>
                </a:cubicBezTo>
                <a:cubicBezTo>
                  <a:pt x="1600" y="343"/>
                  <a:pt x="1602" y="325"/>
                  <a:pt x="1606" y="309"/>
                </a:cubicBezTo>
                <a:cubicBezTo>
                  <a:pt x="1610" y="294"/>
                  <a:pt x="1616" y="280"/>
                  <a:pt x="1624" y="269"/>
                </a:cubicBezTo>
                <a:cubicBezTo>
                  <a:pt x="1632" y="257"/>
                  <a:pt x="1642" y="249"/>
                  <a:pt x="1654" y="242"/>
                </a:cubicBezTo>
                <a:cubicBezTo>
                  <a:pt x="1667" y="236"/>
                  <a:pt x="1681" y="233"/>
                  <a:pt x="1697" y="233"/>
                </a:cubicBezTo>
                <a:cubicBezTo>
                  <a:pt x="1709" y="233"/>
                  <a:pt x="1721" y="236"/>
                  <a:pt x="1732" y="241"/>
                </a:cubicBezTo>
                <a:cubicBezTo>
                  <a:pt x="1743" y="245"/>
                  <a:pt x="1752" y="252"/>
                  <a:pt x="1760" y="260"/>
                </a:cubicBezTo>
                <a:cubicBezTo>
                  <a:pt x="1768" y="269"/>
                  <a:pt x="1774" y="279"/>
                  <a:pt x="1779" y="290"/>
                </a:cubicBezTo>
                <a:cubicBezTo>
                  <a:pt x="1783" y="301"/>
                  <a:pt x="1786" y="313"/>
                  <a:pt x="1786" y="326"/>
                </a:cubicBezTo>
                <a:lnTo>
                  <a:pt x="1786" y="366"/>
                </a:lnTo>
                <a:close/>
              </a:path>
            </a:pathLst>
          </a:custGeom>
          <a:solidFill>
            <a:srgbClr val="32323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63"/>
            <a:endParaRPr lang="en-US" sz="1800">
              <a:solidFill>
                <a:srgbClr val="40404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129838" y="6126162"/>
            <a:ext cx="1849602" cy="3948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5475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 dirty="0">
                <a:gradFill>
                  <a:gsLst>
                    <a:gs pos="0">
                      <a:srgbClr val="404040"/>
                    </a:gs>
                    <a:gs pos="100000">
                      <a:srgbClr val="40404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3" y="3147123"/>
            <a:ext cx="3291840" cy="70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hapes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274638" y="2307518"/>
            <a:ext cx="1563194" cy="323299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9" y="0"/>
                </a:moveTo>
                <a:lnTo>
                  <a:pt x="10000" y="2854"/>
                </a:lnTo>
                <a:cubicBezTo>
                  <a:pt x="9998" y="7335"/>
                  <a:pt x="9970" y="2648"/>
                  <a:pt x="9969" y="7131"/>
                </a:cubicBezTo>
                <a:cubicBezTo>
                  <a:pt x="9964" y="7082"/>
                  <a:pt x="-38" y="10005"/>
                  <a:pt x="0" y="10000"/>
                </a:cubicBezTo>
                <a:cubicBezTo>
                  <a:pt x="6" y="580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745015" y="2301240"/>
            <a:ext cx="3232905" cy="324554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8258123" y="2302035"/>
            <a:ext cx="3903716" cy="324396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54"/>
              <a:gd name="connsiteY0" fmla="*/ 0 h 10000"/>
              <a:gd name="connsiteX1" fmla="*/ 10046 w 10054"/>
              <a:gd name="connsiteY1" fmla="*/ 693 h 10000"/>
              <a:gd name="connsiteX2" fmla="*/ 10054 w 10054"/>
              <a:gd name="connsiteY2" fmla="*/ 8579 h 10000"/>
              <a:gd name="connsiteX3" fmla="*/ 0 w 10054"/>
              <a:gd name="connsiteY3" fmla="*/ 10000 h 10000"/>
              <a:gd name="connsiteX4" fmla="*/ 9 w 10054"/>
              <a:gd name="connsiteY4" fmla="*/ 0 h 10000"/>
              <a:gd name="connsiteX0" fmla="*/ 9 w 10047"/>
              <a:gd name="connsiteY0" fmla="*/ 0 h 10000"/>
              <a:gd name="connsiteX1" fmla="*/ 10046 w 10047"/>
              <a:gd name="connsiteY1" fmla="*/ 693 h 10000"/>
              <a:gd name="connsiteX2" fmla="*/ 10043 w 10047"/>
              <a:gd name="connsiteY2" fmla="*/ 9284 h 10000"/>
              <a:gd name="connsiteX3" fmla="*/ 0 w 10047"/>
              <a:gd name="connsiteY3" fmla="*/ 10000 h 10000"/>
              <a:gd name="connsiteX4" fmla="*/ 9 w 10047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7" h="10000">
                <a:moveTo>
                  <a:pt x="9" y="0"/>
                </a:moveTo>
                <a:cubicBezTo>
                  <a:pt x="-9" y="5"/>
                  <a:pt x="5027" y="346"/>
                  <a:pt x="10046" y="693"/>
                </a:cubicBezTo>
                <a:cubicBezTo>
                  <a:pt x="10052" y="3075"/>
                  <a:pt x="10037" y="6902"/>
                  <a:pt x="10043" y="9284"/>
                </a:cubicBezTo>
                <a:lnTo>
                  <a:pt x="0" y="10000"/>
                </a:lnTo>
                <a:cubicBezTo>
                  <a:pt x="6" y="6667"/>
                  <a:pt x="4" y="5000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2118040" y="2301051"/>
            <a:ext cx="2346769" cy="324592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8579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10000"/>
              <a:gd name="connsiteX1" fmla="*/ 10057 w 10057"/>
              <a:gd name="connsiteY1" fmla="*/ 1452 h 10000"/>
              <a:gd name="connsiteX2" fmla="*/ 10054 w 10057"/>
              <a:gd name="connsiteY2" fmla="*/ 5606 h 10000"/>
              <a:gd name="connsiteX3" fmla="*/ 0 w 10057"/>
              <a:gd name="connsiteY3" fmla="*/ 10000 h 10000"/>
              <a:gd name="connsiteX4" fmla="*/ 9 w 10057"/>
              <a:gd name="connsiteY4" fmla="*/ 0 h 10000"/>
              <a:gd name="connsiteX0" fmla="*/ 9 w 10057"/>
              <a:gd name="connsiteY0" fmla="*/ 0 h 7951"/>
              <a:gd name="connsiteX1" fmla="*/ 10057 w 10057"/>
              <a:gd name="connsiteY1" fmla="*/ 1452 h 7951"/>
              <a:gd name="connsiteX2" fmla="*/ 10054 w 10057"/>
              <a:gd name="connsiteY2" fmla="*/ 5606 h 7951"/>
              <a:gd name="connsiteX3" fmla="*/ 0 w 10057"/>
              <a:gd name="connsiteY3" fmla="*/ 7951 h 7951"/>
              <a:gd name="connsiteX4" fmla="*/ 9 w 10057"/>
              <a:gd name="connsiteY4" fmla="*/ 0 h 7951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97 w 10000"/>
              <a:gd name="connsiteY2" fmla="*/ 705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1826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0000"/>
              <a:gd name="connsiteY0" fmla="*/ 0 h 10000"/>
              <a:gd name="connsiteX1" fmla="*/ 10000 w 10000"/>
              <a:gd name="connsiteY1" fmla="*/ 2854 h 10000"/>
              <a:gd name="connsiteX2" fmla="*/ 9969 w 10000"/>
              <a:gd name="connsiteY2" fmla="*/ 7131 h 10000"/>
              <a:gd name="connsiteX3" fmla="*/ 0 w 10000"/>
              <a:gd name="connsiteY3" fmla="*/ 10000 h 10000"/>
              <a:gd name="connsiteX4" fmla="*/ 9 w 10000"/>
              <a:gd name="connsiteY4" fmla="*/ 0 h 10000"/>
              <a:gd name="connsiteX0" fmla="*/ 9 w 15000"/>
              <a:gd name="connsiteY0" fmla="*/ 0 h 10000"/>
              <a:gd name="connsiteX1" fmla="*/ 15000 w 15000"/>
              <a:gd name="connsiteY1" fmla="*/ 2173 h 10000"/>
              <a:gd name="connsiteX2" fmla="*/ 9969 w 15000"/>
              <a:gd name="connsiteY2" fmla="*/ 7131 h 10000"/>
              <a:gd name="connsiteX3" fmla="*/ 0 w 15000"/>
              <a:gd name="connsiteY3" fmla="*/ 10000 h 10000"/>
              <a:gd name="connsiteX4" fmla="*/ 9 w 15000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19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9 w 15024"/>
              <a:gd name="connsiteY0" fmla="*/ 0 h 10000"/>
              <a:gd name="connsiteX1" fmla="*/ 15000 w 15024"/>
              <a:gd name="connsiteY1" fmla="*/ 2173 h 10000"/>
              <a:gd name="connsiteX2" fmla="*/ 15024 w 15024"/>
              <a:gd name="connsiteY2" fmla="*/ 7906 h 10000"/>
              <a:gd name="connsiteX3" fmla="*/ 0 w 15024"/>
              <a:gd name="connsiteY3" fmla="*/ 10000 h 10000"/>
              <a:gd name="connsiteX4" fmla="*/ 9 w 15024"/>
              <a:gd name="connsiteY4" fmla="*/ 0 h 10000"/>
              <a:gd name="connsiteX0" fmla="*/ 1 w 15016"/>
              <a:gd name="connsiteY0" fmla="*/ 0 h 10053"/>
              <a:gd name="connsiteX1" fmla="*/ 14992 w 15016"/>
              <a:gd name="connsiteY1" fmla="*/ 2173 h 10053"/>
              <a:gd name="connsiteX2" fmla="*/ 15016 w 15016"/>
              <a:gd name="connsiteY2" fmla="*/ 7906 h 10053"/>
              <a:gd name="connsiteX3" fmla="*/ 20 w 15016"/>
              <a:gd name="connsiteY3" fmla="*/ 10053 h 10053"/>
              <a:gd name="connsiteX4" fmla="*/ 1 w 15016"/>
              <a:gd name="connsiteY4" fmla="*/ 0 h 10053"/>
              <a:gd name="connsiteX0" fmla="*/ 9 w 15024"/>
              <a:gd name="connsiteY0" fmla="*/ 0 h 10040"/>
              <a:gd name="connsiteX1" fmla="*/ 15000 w 15024"/>
              <a:gd name="connsiteY1" fmla="*/ 2173 h 10040"/>
              <a:gd name="connsiteX2" fmla="*/ 15024 w 15024"/>
              <a:gd name="connsiteY2" fmla="*/ 7906 h 10040"/>
              <a:gd name="connsiteX3" fmla="*/ 0 w 15024"/>
              <a:gd name="connsiteY3" fmla="*/ 10040 h 10040"/>
              <a:gd name="connsiteX4" fmla="*/ 9 w 15024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39"/>
              <a:gd name="connsiteY0" fmla="*/ 0 h 10040"/>
              <a:gd name="connsiteX1" fmla="*/ 15139 w 15139"/>
              <a:gd name="connsiteY1" fmla="*/ 2200 h 10040"/>
              <a:gd name="connsiteX2" fmla="*/ 15024 w 15139"/>
              <a:gd name="connsiteY2" fmla="*/ 7906 h 10040"/>
              <a:gd name="connsiteX3" fmla="*/ 0 w 15139"/>
              <a:gd name="connsiteY3" fmla="*/ 10040 h 10040"/>
              <a:gd name="connsiteX4" fmla="*/ 9 w 15139"/>
              <a:gd name="connsiteY4" fmla="*/ 0 h 10040"/>
              <a:gd name="connsiteX0" fmla="*/ 9 w 15148"/>
              <a:gd name="connsiteY0" fmla="*/ 0 h 10040"/>
              <a:gd name="connsiteX1" fmla="*/ 15139 w 15148"/>
              <a:gd name="connsiteY1" fmla="*/ 2200 h 10040"/>
              <a:gd name="connsiteX2" fmla="*/ 15135 w 15148"/>
              <a:gd name="connsiteY2" fmla="*/ 7906 h 10040"/>
              <a:gd name="connsiteX3" fmla="*/ 0 w 15148"/>
              <a:gd name="connsiteY3" fmla="*/ 10040 h 10040"/>
              <a:gd name="connsiteX4" fmla="*/ 9 w 15148"/>
              <a:gd name="connsiteY4" fmla="*/ 0 h 10040"/>
              <a:gd name="connsiteX0" fmla="*/ 9 w 15143"/>
              <a:gd name="connsiteY0" fmla="*/ 0 h 10040"/>
              <a:gd name="connsiteX1" fmla="*/ 15111 w 15143"/>
              <a:gd name="connsiteY1" fmla="*/ 2240 h 10040"/>
              <a:gd name="connsiteX2" fmla="*/ 15135 w 15143"/>
              <a:gd name="connsiteY2" fmla="*/ 7906 h 10040"/>
              <a:gd name="connsiteX3" fmla="*/ 0 w 15143"/>
              <a:gd name="connsiteY3" fmla="*/ 10040 h 10040"/>
              <a:gd name="connsiteX4" fmla="*/ 9 w 15143"/>
              <a:gd name="connsiteY4" fmla="*/ 0 h 10040"/>
              <a:gd name="connsiteX0" fmla="*/ 9 w 15141"/>
              <a:gd name="connsiteY0" fmla="*/ 0 h 10040"/>
              <a:gd name="connsiteX1" fmla="*/ 15083 w 15141"/>
              <a:gd name="connsiteY1" fmla="*/ 2187 h 10040"/>
              <a:gd name="connsiteX2" fmla="*/ 15135 w 15141"/>
              <a:gd name="connsiteY2" fmla="*/ 7906 h 10040"/>
              <a:gd name="connsiteX3" fmla="*/ 0 w 15141"/>
              <a:gd name="connsiteY3" fmla="*/ 10040 h 10040"/>
              <a:gd name="connsiteX4" fmla="*/ 9 w 15141"/>
              <a:gd name="connsiteY4" fmla="*/ 0 h 10040"/>
              <a:gd name="connsiteX0" fmla="*/ 9 w 15083"/>
              <a:gd name="connsiteY0" fmla="*/ 0 h 10040"/>
              <a:gd name="connsiteX1" fmla="*/ 15083 w 15083"/>
              <a:gd name="connsiteY1" fmla="*/ 2187 h 10040"/>
              <a:gd name="connsiteX2" fmla="*/ 15052 w 15083"/>
              <a:gd name="connsiteY2" fmla="*/ 7906 h 10040"/>
              <a:gd name="connsiteX3" fmla="*/ 0 w 15083"/>
              <a:gd name="connsiteY3" fmla="*/ 10040 h 10040"/>
              <a:gd name="connsiteX4" fmla="*/ 9 w 15083"/>
              <a:gd name="connsiteY4" fmla="*/ 0 h 1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83" h="10040">
                <a:moveTo>
                  <a:pt x="9" y="0"/>
                </a:moveTo>
                <a:lnTo>
                  <a:pt x="15083" y="2187"/>
                </a:lnTo>
                <a:cubicBezTo>
                  <a:pt x="15081" y="2167"/>
                  <a:pt x="15081" y="7843"/>
                  <a:pt x="15052" y="7906"/>
                </a:cubicBezTo>
                <a:cubicBezTo>
                  <a:pt x="15047" y="7857"/>
                  <a:pt x="-38" y="10045"/>
                  <a:pt x="0" y="10040"/>
                </a:cubicBezTo>
                <a:cubicBezTo>
                  <a:pt x="6" y="5848"/>
                  <a:pt x="3" y="4192"/>
                  <a:pt x="9" y="0"/>
                </a:cubicBezTo>
                <a:close/>
              </a:path>
            </a:pathLst>
          </a:custGeom>
        </p:spPr>
        <p:txBody>
          <a:bodyPr anchor="ctr" anchorCtr="0">
            <a:normAutofit/>
          </a:bodyPr>
          <a:lstStyle>
            <a:lvl1pPr marL="0" marR="0" indent="0" algn="l" defTabSz="1243028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venir LT Pro 45 Book" charset="0"/>
              <a:buNone/>
              <a:tabLst/>
              <a:defRPr sz="1599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889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 smtClean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78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wrap="square" lIns="182880" tIns="146304" rIns="182880" bIns="146304" anchor="ctr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1632"/>
              </a:spcAft>
              <a:buNone/>
              <a:defRPr lang="en-US" sz="3600" kern="1200" dirty="0" smtClean="0">
                <a:gradFill>
                  <a:gsLst>
                    <a:gs pos="28302">
                      <a:schemeClr val="tx1">
                        <a:lumMod val="75000"/>
                        <a:lumOff val="25000"/>
                      </a:schemeClr>
                    </a:gs>
                    <a:gs pos="67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spcBef>
                <a:spcPts val="816"/>
              </a:spcBef>
              <a:defRPr sz="1900">
                <a:solidFill>
                  <a:srgbClr val="FFFFFF"/>
                </a:solidFill>
              </a:defRPr>
            </a:lvl5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3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28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 No Bar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Use this Layout for Speaker Notes slid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56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458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058862"/>
            <a:ext cx="11887200" cy="572464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357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83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74211" y="6395264"/>
            <a:ext cx="11888061" cy="301348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16" b="0">
                <a:solidFill>
                  <a:schemeClr val="tx1"/>
                </a:solidFill>
                <a:latin typeface="+mn-lt"/>
              </a:defRPr>
            </a:lvl1pPr>
            <a:lvl2pPr>
              <a:defRPr sz="816" b="0">
                <a:solidFill>
                  <a:schemeClr val="tx1"/>
                </a:solidFill>
              </a:defRPr>
            </a:lvl2pPr>
            <a:lvl3pPr>
              <a:defRPr sz="816" b="0">
                <a:solidFill>
                  <a:schemeClr val="tx1"/>
                </a:solidFill>
              </a:defRPr>
            </a:lvl3pPr>
            <a:lvl4pPr>
              <a:defRPr sz="816" b="0">
                <a:solidFill>
                  <a:schemeClr val="tx1"/>
                </a:solidFill>
              </a:defRPr>
            </a:lvl4pPr>
            <a:lvl5pPr>
              <a:defRPr sz="816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127387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315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95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5199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793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esentationTitle_HEALTH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" t="13287" r="2103" b="3771"/>
          <a:stretch/>
        </p:blipFill>
        <p:spPr>
          <a:xfrm>
            <a:off x="0" y="0"/>
            <a:ext cx="12466638" cy="702727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466371" y="2489420"/>
            <a:ext cx="6275733" cy="1356064"/>
          </a:xfrm>
          <a:prstGeom prst="rect">
            <a:avLst/>
          </a:prstGeom>
        </p:spPr>
        <p:txBody>
          <a:bodyPr wrap="square" lIns="143407" tIns="0" rIns="143407" bIns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96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here, second line her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72" y="4994602"/>
            <a:ext cx="6275659" cy="593368"/>
          </a:xfrm>
          <a:prstGeom prst="rect">
            <a:avLst/>
          </a:prstGeom>
        </p:spPr>
        <p:txBody>
          <a:bodyPr lIns="143407" tIns="0" rIns="143407" bIns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142">
                <a:solidFill>
                  <a:schemeClr val="bg1"/>
                </a:solidFill>
                <a:latin typeface="+mn-lt"/>
              </a:defRPr>
            </a:lvl1pPr>
            <a:lvl2pPr marL="456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6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br>
              <a:rPr lang="en-US" dirty="0" smtClean="0"/>
            </a:br>
            <a:r>
              <a:rPr lang="en-US" dirty="0" smtClean="0"/>
              <a:t>Dat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758" y="3920818"/>
            <a:ext cx="6292074" cy="881064"/>
          </a:xfrm>
          <a:prstGeom prst="rect">
            <a:avLst/>
          </a:prstGeom>
        </p:spPr>
        <p:txBody>
          <a:bodyPr lIns="143407" tIns="0" rIns="143407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40" baseline="0">
                <a:solidFill>
                  <a:schemeClr val="bg1"/>
                </a:solidFill>
                <a:latin typeface="+mn-lt"/>
              </a:defRPr>
            </a:lvl1pPr>
            <a:lvl2pPr marL="342528" indent="0">
              <a:buNone/>
              <a:defRPr sz="1632">
                <a:solidFill>
                  <a:schemeClr val="bg1"/>
                </a:solidFill>
                <a:latin typeface="+mj-lt"/>
              </a:defRPr>
            </a:lvl2pPr>
            <a:lvl3pPr marL="570880" indent="0">
              <a:buNone/>
              <a:defRPr sz="1326">
                <a:solidFill>
                  <a:schemeClr val="bg1"/>
                </a:solidFill>
                <a:latin typeface="+mj-lt"/>
              </a:defRPr>
            </a:lvl3pPr>
            <a:lvl4pPr marL="799229" indent="0">
              <a:buNone/>
              <a:defRPr sz="1224">
                <a:solidFill>
                  <a:schemeClr val="bg1"/>
                </a:solidFill>
                <a:latin typeface="+mj-lt"/>
              </a:defRPr>
            </a:lvl4pPr>
            <a:lvl5pPr marL="1027583" indent="0">
              <a:buNone/>
              <a:defRPr sz="1224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Sub header her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80059" y="6530041"/>
            <a:ext cx="1304123" cy="2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ed Non-Bullete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739605" y="6673146"/>
            <a:ext cx="501211" cy="372394"/>
          </a:xfrm>
          <a:prstGeom prst="rect">
            <a:avLst/>
          </a:prstGeom>
        </p:spPr>
        <p:txBody>
          <a:bodyPr/>
          <a:lstStyle/>
          <a:p>
            <a:pPr defTabSz="932563"/>
            <a:fld id="{4CED8391-71CF-4FD3-A093-40D26DE2D47C}" type="slidenum">
              <a:rPr lang="en-US" smtClean="0">
                <a:solidFill>
                  <a:srgbClr val="00188F"/>
                </a:solidFill>
              </a:rPr>
              <a:pPr defTabSz="932563"/>
              <a:t>‹#›</a:t>
            </a:fld>
            <a:endParaRPr lang="en-US">
              <a:solidFill>
                <a:srgbClr val="00188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1878" y="1204614"/>
            <a:ext cx="11460018" cy="2096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6742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None/>
              <a:defRPr lang="en-US" sz="3600" kern="1200" dirty="0" smtClean="0">
                <a:gradFill>
                  <a:gsLst>
                    <a:gs pos="8491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  <a:spcAft>
                <a:spcPts val="1632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74641" y="296864"/>
            <a:ext cx="11887199" cy="914400"/>
          </a:xfrm>
        </p:spPr>
        <p:txBody>
          <a:bodyPr vert="horz" lIns="182880" tIns="146304" rIns="182880" bIns="146304" rtlCol="0" anchor="t">
            <a:noAutofit/>
          </a:bodyPr>
          <a:lstStyle>
            <a:lvl1pPr marL="0" indent="0"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74638" y="1537564"/>
            <a:ext cx="3931941" cy="3919398"/>
          </a:xfrm>
          <a:custGeom>
            <a:avLst/>
            <a:gdLst>
              <a:gd name="connsiteX0" fmla="*/ 0 w 2431552"/>
              <a:gd name="connsiteY0" fmla="*/ 0 h 576072"/>
              <a:gd name="connsiteX1" fmla="*/ 2431552 w 2431552"/>
              <a:gd name="connsiteY1" fmla="*/ 0 h 576072"/>
              <a:gd name="connsiteX2" fmla="*/ 2431552 w 2431552"/>
              <a:gd name="connsiteY2" fmla="*/ 576072 h 576072"/>
              <a:gd name="connsiteX3" fmla="*/ 0 w 2431552"/>
              <a:gd name="connsiteY3" fmla="*/ 576072 h 576072"/>
              <a:gd name="connsiteX4" fmla="*/ 0 w 2431552"/>
              <a:gd name="connsiteY4" fmla="*/ 0 h 576072"/>
              <a:gd name="connsiteX0" fmla="*/ 0 w 2610228"/>
              <a:gd name="connsiteY0" fmla="*/ 704193 h 1280265"/>
              <a:gd name="connsiteX1" fmla="*/ 2610228 w 2610228"/>
              <a:gd name="connsiteY1" fmla="*/ 0 h 1280265"/>
              <a:gd name="connsiteX2" fmla="*/ 2431552 w 2610228"/>
              <a:gd name="connsiteY2" fmla="*/ 1280265 h 1280265"/>
              <a:gd name="connsiteX3" fmla="*/ 0 w 2610228"/>
              <a:gd name="connsiteY3" fmla="*/ 1280265 h 1280265"/>
              <a:gd name="connsiteX4" fmla="*/ 0 w 2610228"/>
              <a:gd name="connsiteY4" fmla="*/ 704193 h 1280265"/>
              <a:gd name="connsiteX0" fmla="*/ 0 w 2620739"/>
              <a:gd name="connsiteY0" fmla="*/ 704193 h 2037009"/>
              <a:gd name="connsiteX1" fmla="*/ 2610228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620739"/>
              <a:gd name="connsiteY0" fmla="*/ 483476 h 1816292"/>
              <a:gd name="connsiteX1" fmla="*/ 2389511 w 2620739"/>
              <a:gd name="connsiteY1" fmla="*/ 0 h 1816292"/>
              <a:gd name="connsiteX2" fmla="*/ 2620739 w 2620739"/>
              <a:gd name="connsiteY2" fmla="*/ 1816292 h 1816292"/>
              <a:gd name="connsiteX3" fmla="*/ 0 w 2620739"/>
              <a:gd name="connsiteY3" fmla="*/ 1059548 h 1816292"/>
              <a:gd name="connsiteX4" fmla="*/ 0 w 2620739"/>
              <a:gd name="connsiteY4" fmla="*/ 483476 h 1816292"/>
              <a:gd name="connsiteX0" fmla="*/ 0 w 2620739"/>
              <a:gd name="connsiteY0" fmla="*/ 704193 h 2037009"/>
              <a:gd name="connsiteX1" fmla="*/ 2589207 w 2620739"/>
              <a:gd name="connsiteY1" fmla="*/ 0 h 2037009"/>
              <a:gd name="connsiteX2" fmla="*/ 2620739 w 2620739"/>
              <a:gd name="connsiteY2" fmla="*/ 2037009 h 2037009"/>
              <a:gd name="connsiteX3" fmla="*/ 0 w 2620739"/>
              <a:gd name="connsiteY3" fmla="*/ 1280265 h 2037009"/>
              <a:gd name="connsiteX4" fmla="*/ 0 w 2620739"/>
              <a:gd name="connsiteY4" fmla="*/ 704193 h 2037009"/>
              <a:gd name="connsiteX0" fmla="*/ 0 w 2862477"/>
              <a:gd name="connsiteY0" fmla="*/ 0 h 2425892"/>
              <a:gd name="connsiteX1" fmla="*/ 2830945 w 2862477"/>
              <a:gd name="connsiteY1" fmla="*/ 388883 h 2425892"/>
              <a:gd name="connsiteX2" fmla="*/ 2862477 w 2862477"/>
              <a:gd name="connsiteY2" fmla="*/ 2425892 h 2425892"/>
              <a:gd name="connsiteX3" fmla="*/ 241738 w 2862477"/>
              <a:gd name="connsiteY3" fmla="*/ 1669148 h 2425892"/>
              <a:gd name="connsiteX4" fmla="*/ 0 w 2862477"/>
              <a:gd name="connsiteY4" fmla="*/ 0 h 2425892"/>
              <a:gd name="connsiteX0" fmla="*/ 0 w 2862477"/>
              <a:gd name="connsiteY0" fmla="*/ 0 h 2804265"/>
              <a:gd name="connsiteX1" fmla="*/ 2830945 w 2862477"/>
              <a:gd name="connsiteY1" fmla="*/ 388883 h 2804265"/>
              <a:gd name="connsiteX2" fmla="*/ 2862477 w 2862477"/>
              <a:gd name="connsiteY2" fmla="*/ 2425892 h 2804265"/>
              <a:gd name="connsiteX3" fmla="*/ 21021 w 2862477"/>
              <a:gd name="connsiteY3" fmla="*/ 2804265 h 2804265"/>
              <a:gd name="connsiteX4" fmla="*/ 0 w 2862477"/>
              <a:gd name="connsiteY4" fmla="*/ 0 h 2804265"/>
              <a:gd name="connsiteX0" fmla="*/ 0 w 2967580"/>
              <a:gd name="connsiteY0" fmla="*/ 0 h 2961920"/>
              <a:gd name="connsiteX1" fmla="*/ 2936048 w 2967580"/>
              <a:gd name="connsiteY1" fmla="*/ 546538 h 2961920"/>
              <a:gd name="connsiteX2" fmla="*/ 2967580 w 2967580"/>
              <a:gd name="connsiteY2" fmla="*/ 2583547 h 2961920"/>
              <a:gd name="connsiteX3" fmla="*/ 126124 w 2967580"/>
              <a:gd name="connsiteY3" fmla="*/ 2961920 h 2961920"/>
              <a:gd name="connsiteX4" fmla="*/ 0 w 2967580"/>
              <a:gd name="connsiteY4" fmla="*/ 0 h 2961920"/>
              <a:gd name="connsiteX0" fmla="*/ 10511 w 2841456"/>
              <a:gd name="connsiteY0" fmla="*/ 0 h 2814775"/>
              <a:gd name="connsiteX1" fmla="*/ 2809924 w 2841456"/>
              <a:gd name="connsiteY1" fmla="*/ 399393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10511 w 2845941"/>
              <a:gd name="connsiteY0" fmla="*/ 0 h 2814775"/>
              <a:gd name="connsiteX1" fmla="*/ 2842437 w 2845941"/>
              <a:gd name="connsiteY1" fmla="*/ 415742 h 2814775"/>
              <a:gd name="connsiteX2" fmla="*/ 2841456 w 2845941"/>
              <a:gd name="connsiteY2" fmla="*/ 2436402 h 2814775"/>
              <a:gd name="connsiteX3" fmla="*/ 0 w 2845941"/>
              <a:gd name="connsiteY3" fmla="*/ 2814775 h 2814775"/>
              <a:gd name="connsiteX4" fmla="*/ 10511 w 2845941"/>
              <a:gd name="connsiteY4" fmla="*/ 0 h 2814775"/>
              <a:gd name="connsiteX0" fmla="*/ 10511 w 2841456"/>
              <a:gd name="connsiteY0" fmla="*/ 0 h 2814775"/>
              <a:gd name="connsiteX1" fmla="*/ 2834309 w 2841456"/>
              <a:gd name="connsiteY1" fmla="*/ 391219 h 2814775"/>
              <a:gd name="connsiteX2" fmla="*/ 2841456 w 2841456"/>
              <a:gd name="connsiteY2" fmla="*/ 2436402 h 2814775"/>
              <a:gd name="connsiteX3" fmla="*/ 0 w 2841456"/>
              <a:gd name="connsiteY3" fmla="*/ 2814775 h 2814775"/>
              <a:gd name="connsiteX4" fmla="*/ 10511 w 2841456"/>
              <a:gd name="connsiteY4" fmla="*/ 0 h 2814775"/>
              <a:gd name="connsiteX0" fmla="*/ 3504 w 2834449"/>
              <a:gd name="connsiteY0" fmla="*/ 0 h 2847473"/>
              <a:gd name="connsiteX1" fmla="*/ 2827302 w 2834449"/>
              <a:gd name="connsiteY1" fmla="*/ 391219 h 2847473"/>
              <a:gd name="connsiteX2" fmla="*/ 2834449 w 2834449"/>
              <a:gd name="connsiteY2" fmla="*/ 2436402 h 2847473"/>
              <a:gd name="connsiteX3" fmla="*/ 1122 w 2834449"/>
              <a:gd name="connsiteY3" fmla="*/ 2847473 h 2847473"/>
              <a:gd name="connsiteX4" fmla="*/ 3504 w 2834449"/>
              <a:gd name="connsiteY4" fmla="*/ 0 h 2847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4449" h="2847473">
                <a:moveTo>
                  <a:pt x="3504" y="0"/>
                </a:moveTo>
                <a:lnTo>
                  <a:pt x="2827302" y="391219"/>
                </a:lnTo>
                <a:cubicBezTo>
                  <a:pt x="2830806" y="1070222"/>
                  <a:pt x="2830945" y="1757399"/>
                  <a:pt x="2834449" y="2436402"/>
                </a:cubicBezTo>
                <a:lnTo>
                  <a:pt x="1122" y="2847473"/>
                </a:lnTo>
                <a:cubicBezTo>
                  <a:pt x="4626" y="1909215"/>
                  <a:pt x="0" y="938258"/>
                  <a:pt x="35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82880" tIns="146304" rIns="182880" bIns="146304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5000"/>
              </a:lnSpc>
              <a:defRPr lang="en-US" sz="400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ＭＳ Ｐゴシック" charset="0"/>
                <a:cs typeface="Segoe UI Light"/>
              </a:defRPr>
            </a:lvl1pPr>
          </a:lstStyle>
          <a:p>
            <a:pPr marL="0" lvl="0" indent="0" algn="l" defTabSz="1243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28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hape &amp; Color Background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846638" y="3040063"/>
            <a:ext cx="7315203" cy="914400"/>
          </a:xfrm>
        </p:spPr>
        <p:txBody>
          <a:bodyPr vert="horz" wrap="square" lIns="182880" tIns="146304" rIns="182880" bIns="146304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600" kern="1200" dirty="0" smtClean="0">
                <a:gradFill>
                  <a:gsLst>
                    <a:gs pos="1299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166" rtl="0" eaLnBrk="1" latinLnBrk="0" hangingPunct="1">
              <a:spcBef>
                <a:spcPct val="200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274638" y="1535875"/>
            <a:ext cx="3931920" cy="39227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574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28"/>
              <a:gd name="connsiteX1" fmla="*/ 10000 w 10000"/>
              <a:gd name="connsiteY1" fmla="*/ 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00"/>
              <a:gd name="connsiteY0" fmla="*/ 0 h 10028"/>
              <a:gd name="connsiteX1" fmla="*/ 10000 w 10000"/>
              <a:gd name="connsiteY1" fmla="*/ 1460 h 10028"/>
              <a:gd name="connsiteX2" fmla="*/ 8574 w 10000"/>
              <a:gd name="connsiteY2" fmla="*/ 10000 h 10028"/>
              <a:gd name="connsiteX3" fmla="*/ 1399 w 10000"/>
              <a:gd name="connsiteY3" fmla="*/ 10028 h 10028"/>
              <a:gd name="connsiteX4" fmla="*/ 0 w 10000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399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60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418"/>
              <a:gd name="connsiteY0" fmla="*/ 0 h 10028"/>
              <a:gd name="connsiteX1" fmla="*/ 10411 w 10418"/>
              <a:gd name="connsiteY1" fmla="*/ 992 h 10028"/>
              <a:gd name="connsiteX2" fmla="*/ 10022 w 10418"/>
              <a:gd name="connsiteY2" fmla="*/ 8623 h 10028"/>
              <a:gd name="connsiteX3" fmla="*/ 115 w 10418"/>
              <a:gd name="connsiteY3" fmla="*/ 10028 h 10028"/>
              <a:gd name="connsiteX4" fmla="*/ 0 w 10418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115 w 10022"/>
              <a:gd name="connsiteY3" fmla="*/ 10028 h 10028"/>
              <a:gd name="connsiteX4" fmla="*/ 0 w 10022"/>
              <a:gd name="connsiteY4" fmla="*/ 0 h 10028"/>
              <a:gd name="connsiteX0" fmla="*/ 0 w 10022"/>
              <a:gd name="connsiteY0" fmla="*/ 0 h 10028"/>
              <a:gd name="connsiteX1" fmla="*/ 10000 w 10022"/>
              <a:gd name="connsiteY1" fmla="*/ 1405 h 10028"/>
              <a:gd name="connsiteX2" fmla="*/ 10022 w 10022"/>
              <a:gd name="connsiteY2" fmla="*/ 8623 h 10028"/>
              <a:gd name="connsiteX3" fmla="*/ 38 w 10022"/>
              <a:gd name="connsiteY3" fmla="*/ 10028 h 10028"/>
              <a:gd name="connsiteX4" fmla="*/ 0 w 10022"/>
              <a:gd name="connsiteY4" fmla="*/ 0 h 10028"/>
              <a:gd name="connsiteX0" fmla="*/ 1 w 9997"/>
              <a:gd name="connsiteY0" fmla="*/ 0 h 10028"/>
              <a:gd name="connsiteX1" fmla="*/ 9975 w 9997"/>
              <a:gd name="connsiteY1" fmla="*/ 1405 h 10028"/>
              <a:gd name="connsiteX2" fmla="*/ 9997 w 9997"/>
              <a:gd name="connsiteY2" fmla="*/ 8623 h 10028"/>
              <a:gd name="connsiteX3" fmla="*/ 13 w 9997"/>
              <a:gd name="connsiteY3" fmla="*/ 10028 h 10028"/>
              <a:gd name="connsiteX4" fmla="*/ 1 w 9997"/>
              <a:gd name="connsiteY4" fmla="*/ 0 h 10028"/>
              <a:gd name="connsiteX0" fmla="*/ 1 w 10029"/>
              <a:gd name="connsiteY0" fmla="*/ 0 h 10000"/>
              <a:gd name="connsiteX1" fmla="*/ 10029 w 10029"/>
              <a:gd name="connsiteY1" fmla="*/ 1452 h 10000"/>
              <a:gd name="connsiteX2" fmla="*/ 10000 w 10029"/>
              <a:gd name="connsiteY2" fmla="*/ 8599 h 10000"/>
              <a:gd name="connsiteX3" fmla="*/ 13 w 10029"/>
              <a:gd name="connsiteY3" fmla="*/ 10000 h 10000"/>
              <a:gd name="connsiteX4" fmla="*/ 1 w 10029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5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77"/>
              <a:gd name="connsiteY0" fmla="*/ 0 h 10000"/>
              <a:gd name="connsiteX1" fmla="*/ 10029 w 10077"/>
              <a:gd name="connsiteY1" fmla="*/ 1442 h 10000"/>
              <a:gd name="connsiteX2" fmla="*/ 10077 w 10077"/>
              <a:gd name="connsiteY2" fmla="*/ 8599 h 10000"/>
              <a:gd name="connsiteX3" fmla="*/ 13 w 10077"/>
              <a:gd name="connsiteY3" fmla="*/ 10000 h 10000"/>
              <a:gd name="connsiteX4" fmla="*/ 1 w 10077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46"/>
              <a:gd name="connsiteY0" fmla="*/ 0 h 10000"/>
              <a:gd name="connsiteX1" fmla="*/ 10029 w 10046"/>
              <a:gd name="connsiteY1" fmla="*/ 1442 h 10000"/>
              <a:gd name="connsiteX2" fmla="*/ 10046 w 10046"/>
              <a:gd name="connsiteY2" fmla="*/ 8589 h 10000"/>
              <a:gd name="connsiteX3" fmla="*/ 13 w 10046"/>
              <a:gd name="connsiteY3" fmla="*/ 10000 h 10000"/>
              <a:gd name="connsiteX4" fmla="*/ 1 w 1004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36"/>
              <a:gd name="connsiteY0" fmla="*/ 0 h 10000"/>
              <a:gd name="connsiteX1" fmla="*/ 10029 w 10036"/>
              <a:gd name="connsiteY1" fmla="*/ 1442 h 10000"/>
              <a:gd name="connsiteX2" fmla="*/ 10036 w 10036"/>
              <a:gd name="connsiteY2" fmla="*/ 8579 h 10000"/>
              <a:gd name="connsiteX3" fmla="*/ 13 w 10036"/>
              <a:gd name="connsiteY3" fmla="*/ 10000 h 10000"/>
              <a:gd name="connsiteX4" fmla="*/ 1 w 10036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4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1 w 10040"/>
              <a:gd name="connsiteY0" fmla="*/ 0 h 10000"/>
              <a:gd name="connsiteX1" fmla="*/ 10039 w 10040"/>
              <a:gd name="connsiteY1" fmla="*/ 1452 h 10000"/>
              <a:gd name="connsiteX2" fmla="*/ 10036 w 10040"/>
              <a:gd name="connsiteY2" fmla="*/ 8579 h 10000"/>
              <a:gd name="connsiteX3" fmla="*/ 13 w 10040"/>
              <a:gd name="connsiteY3" fmla="*/ 10000 h 10000"/>
              <a:gd name="connsiteX4" fmla="*/ 1 w 10040"/>
              <a:gd name="connsiteY4" fmla="*/ 0 h 10000"/>
              <a:gd name="connsiteX0" fmla="*/ 28 w 10067"/>
              <a:gd name="connsiteY0" fmla="*/ 0 h 10000"/>
              <a:gd name="connsiteX1" fmla="*/ 10066 w 10067"/>
              <a:gd name="connsiteY1" fmla="*/ 1452 h 10000"/>
              <a:gd name="connsiteX2" fmla="*/ 10063 w 10067"/>
              <a:gd name="connsiteY2" fmla="*/ 8579 h 10000"/>
              <a:gd name="connsiteX3" fmla="*/ 9 w 10067"/>
              <a:gd name="connsiteY3" fmla="*/ 10000 h 10000"/>
              <a:gd name="connsiteX4" fmla="*/ 28 w 10067"/>
              <a:gd name="connsiteY4" fmla="*/ 0 h 10000"/>
              <a:gd name="connsiteX0" fmla="*/ 1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19 w 10058"/>
              <a:gd name="connsiteY4" fmla="*/ 0 h 10000"/>
              <a:gd name="connsiteX0" fmla="*/ 9 w 10058"/>
              <a:gd name="connsiteY0" fmla="*/ 0 h 10000"/>
              <a:gd name="connsiteX1" fmla="*/ 10057 w 10058"/>
              <a:gd name="connsiteY1" fmla="*/ 1452 h 10000"/>
              <a:gd name="connsiteX2" fmla="*/ 10054 w 10058"/>
              <a:gd name="connsiteY2" fmla="*/ 8579 h 10000"/>
              <a:gd name="connsiteX3" fmla="*/ 0 w 10058"/>
              <a:gd name="connsiteY3" fmla="*/ 10000 h 10000"/>
              <a:gd name="connsiteX4" fmla="*/ 9 w 10058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9" y="0"/>
                </a:moveTo>
                <a:lnTo>
                  <a:pt x="10057" y="1452"/>
                </a:lnTo>
                <a:cubicBezTo>
                  <a:pt x="10063" y="3834"/>
                  <a:pt x="10048" y="6197"/>
                  <a:pt x="10054" y="8579"/>
                </a:cubicBezTo>
                <a:lnTo>
                  <a:pt x="0" y="10000"/>
                </a:lnTo>
                <a:cubicBezTo>
                  <a:pt x="6" y="6667"/>
                  <a:pt x="3" y="3333"/>
                  <a:pt x="9" y="0"/>
                </a:cubicBezTo>
                <a:close/>
              </a:path>
            </a:pathLst>
          </a:custGeom>
        </p:spPr>
        <p:txBody>
          <a:bodyPr lIns="182880" tIns="146304" rIns="182880" bIns="146304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wrap="none" lIns="182880" tIns="146304" rIns="182880" bIns="146304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87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0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63" r:id="rId15"/>
    <p:sldLayoutId id="2147484307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787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40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  <p:sldLayoutId id="2147484330" r:id="rId8"/>
    <p:sldLayoutId id="2147484331" r:id="rId9"/>
    <p:sldLayoutId id="2147484332" r:id="rId10"/>
    <p:sldLayoutId id="2147484333" r:id="rId11"/>
    <p:sldLayoutId id="2147484334" r:id="rId12"/>
    <p:sldLayoutId id="2147484335" r:id="rId13"/>
    <p:sldLayoutId id="2147484336" r:id="rId14"/>
    <p:sldLayoutId id="2147484337" r:id="rId15"/>
    <p:sldLayoutId id="2147484338" r:id="rId16"/>
    <p:sldLayoutId id="2147484339" r:id="rId17"/>
    <p:sldLayoutId id="2147484340" r:id="rId18"/>
    <p:sldLayoutId id="2147484341" r:id="rId19"/>
    <p:sldLayoutId id="2147484342" r:id="rId2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  <p:sldLayoutId id="2147484391" r:id="rId17"/>
    <p:sldLayoutId id="2147484392" r:id="rId18"/>
    <p:sldLayoutId id="2147484393" r:id="rId19"/>
    <p:sldLayoutId id="2147484394" r:id="rId20"/>
    <p:sldLayoutId id="2147484395" r:id="rId21"/>
    <p:sldLayoutId id="2147484396" r:id="rId22"/>
    <p:sldLayoutId id="2147484397" r:id="rId23"/>
    <p:sldLayoutId id="2147484398" r:id="rId24"/>
    <p:sldLayoutId id="2147484399" r:id="rId25"/>
    <p:sldLayoutId id="2147484400" r:id="rId26"/>
    <p:sldLayoutId id="2147484401" r:id="rId27"/>
    <p:sldLayoutId id="2147484402" r:id="rId28"/>
    <p:sldLayoutId id="2147484403" r:id="rId2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Relationship Id="rId6" Type="http://schemas.openxmlformats.org/officeDocument/2006/relationships/hyperlink" Target="http://caniuse.com/" TargetMode="External"/><Relationship Id="rId5" Type="http://schemas.openxmlformats.org/officeDocument/2006/relationships/hyperlink" Target="http://exploringjs.com/" TargetMode="External"/><Relationship Id="rId4" Type="http://schemas.openxmlformats.org/officeDocument/2006/relationships/hyperlink" Target="https://github.com/getify/You-Dont-Know-JS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/>
          <p:nvPr/>
        </p:nvSpPr>
        <p:spPr>
          <a:xfrm>
            <a:off x="700232" y="936198"/>
            <a:ext cx="11196624" cy="2917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Programación funcional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&amp;&amp;</a:t>
            </a:r>
          </a:p>
          <a:p>
            <a:r>
              <a:rPr lang="es-ES" sz="6119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Segoe UI Light" panose="020B0502040204020203" pitchFamily="34" charset="0"/>
                <a:cs typeface="Segoe UI Light" panose="020B0502040204020203" pitchFamily="34" charset="0"/>
              </a:rPr>
              <a:t>ES6</a:t>
            </a:r>
            <a:endParaRPr lang="es-ES" sz="6119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" t="3768" r="-491" b="35230"/>
          <a:stretch/>
        </p:blipFill>
        <p:spPr>
          <a:xfrm>
            <a:off x="887770" y="5416429"/>
            <a:ext cx="1077156" cy="1077156"/>
          </a:xfrm>
          <a:prstGeom prst="rect">
            <a:avLst/>
          </a:prstGeom>
        </p:spPr>
      </p:pic>
      <p:sp>
        <p:nvSpPr>
          <p:cNvPr id="28" name="TextBox 5"/>
          <p:cNvSpPr txBox="1"/>
          <p:nvPr/>
        </p:nvSpPr>
        <p:spPr>
          <a:xfrm>
            <a:off x="2062072" y="5342771"/>
            <a:ext cx="5628389" cy="1246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 García Salvadores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versidad Autónoma de Madrid</a:t>
            </a:r>
          </a:p>
          <a:p>
            <a:r>
              <a:rPr lang="es-ES" sz="2448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@</a:t>
            </a:r>
            <a:r>
              <a:rPr lang="es-ES" sz="2448" dirty="0" err="1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adio_g_s</a:t>
            </a:r>
            <a:endParaRPr lang="es-ES" sz="2448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TextBox 4"/>
          <p:cNvSpPr txBox="1"/>
          <p:nvPr/>
        </p:nvSpPr>
        <p:spPr>
          <a:xfrm>
            <a:off x="10325036" y="6338596"/>
            <a:ext cx="1374705" cy="374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36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#</a:t>
            </a:r>
            <a:r>
              <a:rPr lang="es-ES" sz="1836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SPSpain</a:t>
            </a:r>
            <a:endParaRPr lang="es-ES" sz="1836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452" y="5081943"/>
            <a:ext cx="1244848" cy="124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0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42999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=3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sh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=[];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ferenceError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n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0442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592262"/>
            <a:ext cx="11429999" cy="4136517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.z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3; //Se 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uede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acer</a:t>
            </a:r>
            <a:endParaRPr lang="en-U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.seal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);  //No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it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ñadir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s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res</a:t>
            </a:r>
            <a:endParaRPr lang="en-US" sz="3200" dirty="0" smtClean="0">
              <a:solidFill>
                <a:srgbClr val="DCDCDC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n-US" sz="3200" dirty="0" smtClean="0">
              <a:solidFill>
                <a:srgbClr val="DCDCDC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3200" dirty="0" err="1" smtClean="0">
                <a:solidFill>
                  <a:srgbClr val="DCDCD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.freez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); //No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ite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ificar</a:t>
            </a:r>
            <a:r>
              <a:rPr lang="en-US" sz="3200" dirty="0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 err="1" smtClean="0">
                <a:solidFill>
                  <a:srgbClr val="DCDCD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res</a:t>
            </a:r>
            <a:endParaRPr lang="en-U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n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8187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32A6D"/>
            </a:gs>
            <a:gs pos="100000">
              <a:srgbClr val="832D9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201399" cy="2932919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6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668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429999" cy="293291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previous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urren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5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read / </a:t>
            </a:r>
            <a:r>
              <a:rPr lang="es-ES" b="1" spc="0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R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t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7081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AE67FE"/>
            </a:gs>
            <a:gs pos="100000">
              <a:srgbClr val="65DFFF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2811462"/>
            <a:ext cx="116585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??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6175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429998" cy="2142574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esino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!=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ndefined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gumentos por defecto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1430001" cy="1879041"/>
          </a:xfrm>
          <a:prstGeom prst="rect">
            <a:avLst/>
          </a:prstGeo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reaRobo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sAsesin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s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...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89158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0FFA4"/>
            </a:gs>
            <a:gs pos="100000">
              <a:srgbClr val="00FFFD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06198" cy="451360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x==1, a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1, by==2, 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y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z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signación desestructurada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56388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490878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.2.3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.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&gt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O altera </a:t>
            </a: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numero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=&gt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uplica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n-U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lla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 lambda con =&gt;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8206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1557E"/>
            </a:gs>
            <a:gs pos="100000">
              <a:srgbClr val="389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82398" cy="4876800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coordenadas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y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z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</a:t>
            </a:r>
            <a:r>
              <a:rPr lang="es-ES" dirty="0" err="1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,y,z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s-E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);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f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ordenadas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consol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1,2,3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r>
              <a:rPr lang="es-ES" dirty="0" smtClean="0"/>
              <a:t> </a:t>
            </a:r>
            <a:endParaRPr lang="es-E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or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of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74455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1557E"/>
            </a:gs>
            <a:gs pos="100000">
              <a:srgbClr val="389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582398" cy="502329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matematicas.js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xport function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sz="2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7A64A"/>
                </a:solidFill>
                <a:cs typeface="Times New Roman" panose="02020603050405020304" pitchFamily="18" charset="0"/>
              </a:rPr>
              <a:t>//main.js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ort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 </a:t>
            </a:r>
            <a:r>
              <a:rPr lang="en-US" sz="2800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matematicas.js”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ort 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n-US" sz="2800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s </a:t>
            </a:r>
            <a:r>
              <a:rPr lang="en-US" sz="28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tematicas</a:t>
            </a:r>
            <a:r>
              <a:rPr lang="en-US" sz="28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 </a:t>
            </a:r>
            <a:r>
              <a:rPr lang="en-US" sz="2800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matematicas.js</a:t>
            </a:r>
            <a:r>
              <a:rPr lang="en-US" sz="2800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endParaRPr lang="en-US" sz="2800" dirty="0" smtClean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err="1" smtClean="0">
                <a:solidFill>
                  <a:schemeClr val="tx1"/>
                </a:solidFill>
                <a:cs typeface="Times New Roman" panose="02020603050405020304" pitchFamily="18" charset="0"/>
              </a:rPr>
              <a:t>cuadrado</a:t>
            </a:r>
            <a:r>
              <a:rPr lang="en-US" sz="28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(3);</a:t>
            </a:r>
          </a:p>
          <a:p>
            <a:pPr marL="0" indent="0">
              <a:lnSpc>
                <a:spcPct val="107000"/>
              </a:lnSpc>
              <a:buNone/>
            </a:pPr>
            <a:r>
              <a:rPr lang="en-US" sz="2800" dirty="0" err="1">
                <a:solidFill>
                  <a:schemeClr val="tx1"/>
                </a:solidFill>
                <a:cs typeface="Times New Roman" panose="02020603050405020304" pitchFamily="18" charset="0"/>
              </a:rPr>
              <a:t>m</a:t>
            </a:r>
            <a:r>
              <a:rPr lang="en-US" sz="2800" dirty="0" err="1" smtClean="0">
                <a:solidFill>
                  <a:schemeClr val="tx1"/>
                </a:solidFill>
                <a:cs typeface="Times New Roman" panose="02020603050405020304" pitchFamily="18" charset="0"/>
              </a:rPr>
              <a:t>atematicas.cuadrado</a:t>
            </a:r>
            <a:r>
              <a:rPr lang="en-US" sz="28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(3);</a:t>
            </a:r>
            <a:endParaRPr lang="en-US" sz="28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odulo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21041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2D3896"/>
            </a:gs>
            <a:gs pos="100000">
              <a:srgbClr val="1CF9FC">
                <a:lumMod val="100000"/>
              </a:srgb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4530471"/>
          </a:xfrm>
        </p:spPr>
        <p:txBody>
          <a:bodyPr/>
          <a:lstStyle/>
          <a:p>
            <a:r>
              <a:rPr lang="es-ES" dirty="0" smtClean="0"/>
              <a:t>Evitar </a:t>
            </a:r>
            <a:r>
              <a:rPr lang="es-ES" dirty="0" err="1" smtClean="0"/>
              <a:t>side-effects</a:t>
            </a:r>
            <a:endParaRPr lang="es-ES" dirty="0" smtClean="0"/>
          </a:p>
          <a:p>
            <a:pPr lvl="1"/>
            <a:r>
              <a:rPr lang="es-ES" dirty="0" smtClean="0"/>
              <a:t>Una función siempre devuelve el mismo resultado</a:t>
            </a:r>
          </a:p>
          <a:p>
            <a:r>
              <a:rPr lang="es-ES" dirty="0" smtClean="0"/>
              <a:t>Estilo declarativo</a:t>
            </a:r>
          </a:p>
          <a:p>
            <a:r>
              <a:rPr lang="es-ES" dirty="0" smtClean="0"/>
              <a:t>Expresiones lambda</a:t>
            </a:r>
          </a:p>
          <a:p>
            <a:r>
              <a:rPr lang="es-ES" dirty="0" smtClean="0"/>
              <a:t>Mejor concurrencia</a:t>
            </a:r>
          </a:p>
          <a:p>
            <a:r>
              <a:rPr lang="es-ES" dirty="0" smtClean="0"/>
              <a:t>Lenguajes especializados : F#, </a:t>
            </a:r>
            <a:r>
              <a:rPr lang="es-ES" dirty="0" err="1" smtClean="0"/>
              <a:t>Haskell</a:t>
            </a:r>
            <a:endParaRPr lang="es-E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gramación</a:t>
            </a:r>
            <a:r>
              <a:rPr lang="en-U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n-U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al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1644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38383"/>
            </a:gs>
            <a:gs pos="100000">
              <a:srgbClr val="E4E4E4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363662"/>
            <a:ext cx="11429998" cy="4663328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lass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ctor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constructor(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,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x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x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y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odulo(){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th.sqrt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x+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is</a:t>
            </a:r>
            <a:r>
              <a:rPr lang="es-ES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y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s-ES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569CD6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1</a:t>
            </a:r>
            <a:r>
              <a:rPr lang="es-ES" dirty="0" smtClean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new </a:t>
            </a:r>
            <a:r>
              <a:rPr lang="es-ES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ector(1,1);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las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80980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50585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es-ES" dirty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se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123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get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delete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z="3200" dirty="0" smtClean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.forEach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=&gt;console.log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);</a:t>
            </a:r>
            <a:endParaRPr lang="es-E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&amp; 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0309490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078FC"/>
            </a:gs>
            <a:gs pos="100000">
              <a:srgbClr val="FD7D7B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40" y="1668462"/>
            <a:ext cx="11201398" cy="50585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et 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 </a:t>
            </a:r>
            <a:r>
              <a:rPr lang="es-ES" dirty="0">
                <a:solidFill>
                  <a:srgbClr val="5598D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(); </a:t>
            </a:r>
            <a:r>
              <a:rPr lang="es-ES" dirty="0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o </a:t>
            </a:r>
            <a:r>
              <a:rPr lang="es-ES" dirty="0" err="1" smtClean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eakSet</a:t>
            </a:r>
            <a:endParaRPr lang="es-ES" dirty="0" smtClean="0">
              <a:solidFill>
                <a:srgbClr val="57A64A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add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size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DCDCD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delete</a:t>
            </a:r>
            <a:r>
              <a:rPr lang="es-E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err="1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has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s-ES" dirty="0" err="1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oo</a:t>
            </a:r>
            <a:r>
              <a:rPr lang="es-ES" dirty="0" smtClean="0">
                <a:solidFill>
                  <a:srgbClr val="C38E7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z="3200" dirty="0" smtClean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t.forEach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=&gt;console.log(</a:t>
            </a:r>
            <a:r>
              <a:rPr lang="es-E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lue,key</a:t>
            </a:r>
            <a:r>
              <a:rPr lang="es-E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);</a:t>
            </a:r>
            <a:endParaRPr lang="es-ES" sz="3200" dirty="0">
              <a:solidFill>
                <a:srgbClr val="DCDCD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&amp; Set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274637" y="4270667"/>
            <a:ext cx="12161837" cy="517065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2pPr>
            <a:lvl3pPr marL="571441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lang="en-US" sz="2400" kern="1200" spc="0" baseline="0" dirty="0" smtClean="0">
                <a:gradFill>
                  <a:gsLst>
                    <a:gs pos="66981">
                      <a:schemeClr val="tx1">
                        <a:lumMod val="75000"/>
                        <a:lumOff val="25000"/>
                      </a:schemeClr>
                    </a:gs>
                    <a:gs pos="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Consolas" pitchFamily="49" charset="0"/>
                <a:ea typeface="+mn-ea"/>
                <a:cs typeface="Consolas" pitchFamily="49" charset="0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301914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9A105"/>
            </a:gs>
            <a:gs pos="100000">
              <a:srgbClr val="F8F9B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278062"/>
            <a:ext cx="11429999" cy="2950872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err="1">
                <a:solidFill>
                  <a:srgbClr val="5598D0"/>
                </a:solidFill>
              </a:rPr>
              <a:t>var</a:t>
            </a:r>
            <a:r>
              <a:rPr lang="es-ES" dirty="0"/>
              <a:t> u32 = </a:t>
            </a:r>
            <a:r>
              <a:rPr lang="es-ES" dirty="0">
                <a:solidFill>
                  <a:srgbClr val="5598D0"/>
                </a:solidFill>
              </a:rPr>
              <a:t>new</a:t>
            </a:r>
            <a:r>
              <a:rPr lang="es-ES" dirty="0"/>
              <a:t> Uint32Array(16); //Float64Array, </a:t>
            </a:r>
            <a:r>
              <a:rPr lang="es-ES" dirty="0" smtClean="0"/>
              <a:t>Int16Array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rgbClr val="5598D0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dirty="0" smtClean="0">
                <a:solidFill>
                  <a:schemeClr val="tx1"/>
                </a:solidFill>
              </a:rPr>
              <a:t>u32[2]=3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strike="sngStrike" dirty="0" smtClean="0">
                <a:solidFill>
                  <a:srgbClr val="FF0000"/>
                </a:solidFill>
              </a:rPr>
              <a:t>u32[0]=“a”;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es-ES" strike="sngStrike" dirty="0" smtClean="0">
              <a:solidFill>
                <a:srgbClr val="FF0000"/>
              </a:solidFill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s-ES" strike="sngStrike" dirty="0" smtClean="0">
                <a:solidFill>
                  <a:srgbClr val="FF0000"/>
                </a:solidFill>
              </a:rPr>
              <a:t>u32[20]=4;</a:t>
            </a:r>
            <a:endParaRPr lang="es-ES" strike="sngStrike" dirty="0">
              <a:solidFill>
                <a:srgbClr val="FF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yped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ray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26206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8A2B"/>
            </a:gs>
            <a:gs pos="100000">
              <a:srgbClr val="D9DF2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12837" y="3677934"/>
            <a:ext cx="11889564" cy="917575"/>
          </a:xfrm>
        </p:spPr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emplate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tring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809037" y="590117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ymbols</a:t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655637" y="649643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terators</a:t>
            </a: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427037" y="555466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xi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5684837" y="5313252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ew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umber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tring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</a:p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rray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Object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/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th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PI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4770437" y="81305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mis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5532437" y="2583838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Dynamic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property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name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endParaRPr lang="es-E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053732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52502" y="1374213"/>
            <a:ext cx="8031208" cy="5113426"/>
          </a:xfrm>
        </p:spPr>
        <p:txBody>
          <a:bodyPr/>
          <a:lstStyle/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Visual Studio </a:t>
            </a:r>
            <a:r>
              <a:rPr lang="es-ES" sz="3199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ode</a:t>
            </a: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– Soporta ES6</a:t>
            </a:r>
          </a:p>
          <a:p>
            <a:pPr>
              <a:spcAft>
                <a:spcPts val="1199"/>
              </a:spcAft>
            </a:pPr>
            <a:endParaRPr lang="es-ES" sz="319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Node.js, NPM, babel</a:t>
            </a:r>
          </a:p>
          <a:p>
            <a:pPr>
              <a:spcAft>
                <a:spcPts val="1199"/>
              </a:spcAft>
            </a:pPr>
            <a:endParaRPr lang="es-ES" sz="3199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>
              <a:spcAft>
                <a:spcPts val="1199"/>
              </a:spcAft>
            </a:pPr>
            <a:r>
              <a:rPr lang="es-ES" sz="3199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Los últimos navegadores:</a:t>
            </a: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Microsoft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Edge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(para Windows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Insiders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)</a:t>
            </a: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Firefox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Developer</a:t>
            </a: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Edition</a:t>
            </a:r>
            <a:endParaRPr lang="es-ES" sz="20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  <a:p>
            <a:pPr marL="342900" indent="-342900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s-ES" sz="2000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hrome </a:t>
            </a:r>
            <a:r>
              <a:rPr lang="es-ES" sz="2000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Canary</a:t>
            </a:r>
            <a:endParaRPr lang="es-ES" sz="2000" dirty="0" smtClean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Herramienta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útiles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424107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2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07" t="15766" r="9343" b="21048"/>
          <a:stretch/>
        </p:blipFill>
        <p:spPr>
          <a:xfrm>
            <a:off x="76095" y="1374213"/>
            <a:ext cx="4176407" cy="432556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64380" y="1374213"/>
            <a:ext cx="8031208" cy="5113426"/>
          </a:xfrm>
        </p:spPr>
        <p:txBody>
          <a:bodyPr/>
          <a:lstStyle/>
          <a:p>
            <a:pPr>
              <a:spcAft>
                <a:spcPts val="1199"/>
              </a:spcAft>
            </a:pPr>
            <a:r>
              <a:rPr lang="en-US" sz="2400" dirty="0">
                <a:solidFill>
                  <a:schemeClr val="bg1"/>
                </a:solidFill>
                <a:hlinkClick r:id="rId4"/>
              </a:rPr>
              <a:t>https://</a:t>
            </a:r>
            <a:r>
              <a:rPr lang="en-US" sz="2400" dirty="0" smtClean="0">
                <a:solidFill>
                  <a:schemeClr val="bg1"/>
                </a:solidFill>
                <a:hlinkClick r:id="rId4"/>
              </a:rPr>
              <a:t>github.com/getify/You-Dont-Know-JS</a:t>
            </a: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s-ES" sz="2400" dirty="0">
                <a:solidFill>
                  <a:schemeClr val="bg1"/>
                </a:solidFill>
                <a:hlinkClick r:id="rId5"/>
              </a:rPr>
              <a:t>http://</a:t>
            </a:r>
            <a:r>
              <a:rPr lang="es-ES" sz="2400" dirty="0" smtClean="0">
                <a:solidFill>
                  <a:schemeClr val="bg1"/>
                </a:solidFill>
                <a:hlinkClick r:id="rId5"/>
              </a:rPr>
              <a:t>exploringjs.com</a:t>
            </a:r>
            <a:endParaRPr lang="es-E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n-US" sz="2400" dirty="0" err="1">
                <a:solidFill>
                  <a:schemeClr val="bg1"/>
                </a:solidFill>
              </a:rPr>
              <a:t>Youtube</a:t>
            </a:r>
            <a:r>
              <a:rPr lang="en-US" sz="2400" dirty="0">
                <a:solidFill>
                  <a:schemeClr val="bg1"/>
                </a:solidFill>
              </a:rPr>
              <a:t>: @</a:t>
            </a:r>
            <a:r>
              <a:rPr lang="en-US" sz="2400" dirty="0" err="1">
                <a:solidFill>
                  <a:schemeClr val="bg1"/>
                </a:solidFill>
              </a:rPr>
              <a:t>mpjm</a:t>
            </a:r>
            <a:r>
              <a:rPr lang="en-US" sz="2400" dirty="0">
                <a:solidFill>
                  <a:schemeClr val="bg1"/>
                </a:solidFill>
              </a:rPr>
              <a:t>, @</a:t>
            </a:r>
            <a:r>
              <a:rPr lang="en-US" sz="2400" dirty="0" err="1" smtClean="0">
                <a:solidFill>
                  <a:schemeClr val="bg1"/>
                </a:solidFill>
              </a:rPr>
              <a:t>jsconf</a:t>
            </a:r>
            <a:endParaRPr lang="en-US" sz="2400" dirty="0" smtClean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endParaRPr lang="en-US" sz="2400" dirty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s-ES" sz="2400" u="sng" dirty="0" smtClean="0">
                <a:solidFill>
                  <a:schemeClr val="bg1"/>
                </a:solidFill>
              </a:rPr>
              <a:t>dev.modern.ie,</a:t>
            </a:r>
            <a:r>
              <a:rPr lang="en-US" sz="2400" dirty="0" smtClean="0">
                <a:solidFill>
                  <a:schemeClr val="bg1"/>
                </a:solidFill>
              </a:rPr>
              <a:t> MDN</a:t>
            </a:r>
          </a:p>
          <a:p>
            <a:pPr>
              <a:spcAft>
                <a:spcPts val="1199"/>
              </a:spcAft>
            </a:pPr>
            <a:endParaRPr lang="en-US" sz="2400" dirty="0">
              <a:solidFill>
                <a:schemeClr val="bg1"/>
              </a:solidFill>
            </a:endParaRPr>
          </a:p>
          <a:p>
            <a:pPr>
              <a:spcAft>
                <a:spcPts val="1199"/>
              </a:spcAft>
            </a:pPr>
            <a:r>
              <a:rPr lang="en-US" sz="2400" dirty="0">
                <a:solidFill>
                  <a:schemeClr val="bg1"/>
                </a:solidFill>
                <a:hlinkClick r:id="rId6"/>
              </a:rPr>
              <a:t>http://</a:t>
            </a:r>
            <a:r>
              <a:rPr lang="en-US" sz="2400" dirty="0" smtClean="0">
                <a:solidFill>
                  <a:schemeClr val="bg1"/>
                </a:solidFill>
                <a:hlinkClick r:id="rId6"/>
              </a:rPr>
              <a:t>caniuse.com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Recurso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</a:t>
            </a:r>
            <a:r>
              <a:rPr lang="en-US" dirty="0" err="1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avanzados</a:t>
            </a:r>
            <a:r>
              <a:rPr lang="en-US" dirty="0" smtClean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 de JavaScript</a:t>
            </a:r>
            <a:endParaRPr lang="en-US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3507" y="-1379342"/>
            <a:ext cx="6215769" cy="65919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32563"/>
            <a:r>
              <a:rPr lang="en-US" dirty="0">
                <a:solidFill>
                  <a:srgbClr val="404040"/>
                </a:solidFill>
              </a:rPr>
              <a:t>Reference talks by Sam, Elio, Clemens and any of the ASA talks, at least.</a:t>
            </a:r>
          </a:p>
        </p:txBody>
      </p:sp>
    </p:spTree>
    <p:extLst>
      <p:ext uri="{BB962C8B-B14F-4D97-AF65-F5344CB8AC3E}">
        <p14:creationId xmlns:p14="http://schemas.microsoft.com/office/powerpoint/2010/main" val="339138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966128" y="4411662"/>
            <a:ext cx="68852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</a:rPr>
              <a:t>https://github.com/uamnet/techtalks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637" y="677862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51959"/>
            </a:gs>
            <a:gs pos="100000">
              <a:srgbClr val="FAAC3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709991"/>
            <a:ext cx="11887200" cy="5355312"/>
          </a:xfrm>
        </p:spPr>
        <p:txBody>
          <a:bodyPr/>
          <a:lstStyle/>
          <a:p>
            <a:r>
              <a:rPr lang="es-ES" dirty="0" smtClean="0"/>
              <a:t>No es un lenguaje funcional puro</a:t>
            </a:r>
          </a:p>
          <a:p>
            <a:pPr lvl="1"/>
            <a:r>
              <a:rPr lang="es-ES" dirty="0" smtClean="0"/>
              <a:t>Evaluación perezosa</a:t>
            </a:r>
          </a:p>
          <a:p>
            <a:pPr lvl="1"/>
            <a:r>
              <a:rPr lang="es-ES" dirty="0" smtClean="0"/>
              <a:t>Inmutabilidad</a:t>
            </a:r>
          </a:p>
          <a:p>
            <a:r>
              <a:rPr lang="es-ES" dirty="0" smtClean="0"/>
              <a:t>Es </a:t>
            </a:r>
            <a:r>
              <a:rPr lang="es-ES" dirty="0" err="1" smtClean="0"/>
              <a:t>multiparadigma</a:t>
            </a:r>
            <a:endParaRPr lang="es-ES" dirty="0"/>
          </a:p>
          <a:p>
            <a:pPr lvl="1"/>
            <a:r>
              <a:rPr lang="es-ES" dirty="0" smtClean="0"/>
              <a:t>Imperativo</a:t>
            </a:r>
          </a:p>
          <a:p>
            <a:pPr lvl="1"/>
            <a:r>
              <a:rPr lang="es-ES" dirty="0" smtClean="0"/>
              <a:t>Orientado a objetos</a:t>
            </a:r>
          </a:p>
          <a:p>
            <a:pPr lvl="1"/>
            <a:r>
              <a:rPr lang="es-ES" dirty="0" smtClean="0"/>
              <a:t>Funcional</a:t>
            </a:r>
          </a:p>
          <a:p>
            <a:r>
              <a:rPr lang="es-ES" dirty="0" smtClean="0"/>
              <a:t>Podemos usar en cada momento el estilo mas adecuado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Es JS un lenguaje funcional?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618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69444"/>
            </a:gs>
            <a:gs pos="100000">
              <a:srgbClr val="F6EE77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506199" cy="3791807"/>
          </a:xfrm>
          <a:solidFill>
            <a:srgbClr val="202020">
              <a:alpha val="70000"/>
            </a:srgbClr>
          </a:solidFill>
          <a:ln w="12700" cap="sq" cmpd="thickThin">
            <a:solidFill>
              <a:schemeClr val="tx1"/>
            </a:solidFill>
            <a:bevel/>
          </a:ln>
        </p:spPr>
        <p:txBody>
          <a:bodyPr/>
          <a:lstStyle/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Las funciones son de primera clase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Times New Roman" panose="02020603050405020304" pitchFamily="18" charset="0"/>
              </a:rPr>
              <a:t>suma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a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b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s-ES" dirty="0">
                <a:solidFill>
                  <a:srgbClr val="57A64A"/>
                </a:solidFill>
                <a:ea typeface="Times New Roman" panose="02020603050405020304" pitchFamily="18" charset="0"/>
              </a:rPr>
              <a:t>//Y también son de orden superior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f,x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{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f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smtClean="0">
                <a:solidFill>
                  <a:srgbClr val="B5CEA8"/>
                </a:solidFill>
                <a:ea typeface="Times New Roman" panose="02020603050405020304" pitchFamily="18" charset="0"/>
              </a:rPr>
              <a:t>3,x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>
                <a:solidFill>
                  <a:srgbClr val="B4B4B4"/>
                </a:solidFill>
                <a:ea typeface="Times New Roman" panose="02020603050405020304" pitchFamily="18" charset="0"/>
              </a:rPr>
              <a:t>}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Bef>
                <a:spcPts val="575"/>
              </a:spcBef>
              <a:buNone/>
            </a:pPr>
            <a:r>
              <a:rPr lang="en-US" dirty="0" err="1" smtClean="0">
                <a:solidFill>
                  <a:srgbClr val="DCDCDC"/>
                </a:solidFill>
                <a:ea typeface="Times New Roman" panose="02020603050405020304" pitchFamily="18" charset="0"/>
              </a:rPr>
              <a:t>aplicaTres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(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suma,1</a:t>
            </a:r>
            <a:r>
              <a:rPr lang="en-US" dirty="0" smtClean="0">
                <a:solidFill>
                  <a:srgbClr val="B4B4B4"/>
                </a:solidFill>
                <a:ea typeface="Times New Roman" panose="02020603050405020304" pitchFamily="18" charset="0"/>
              </a:rPr>
              <a:t>);</a:t>
            </a:r>
            <a:r>
              <a:rPr lang="en-US" dirty="0" smtClean="0">
                <a:solidFill>
                  <a:srgbClr val="DCDCDC"/>
                </a:solidFill>
                <a:ea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57A64A"/>
                </a:solidFill>
                <a:ea typeface="Times New Roman" panose="02020603050405020304" pitchFamily="18" charset="0"/>
              </a:rPr>
              <a:t>//</a:t>
            </a:r>
            <a:r>
              <a:rPr lang="en-US" dirty="0">
                <a:solidFill>
                  <a:srgbClr val="57A64A"/>
                </a:solidFill>
                <a:ea typeface="Times New Roman" panose="02020603050405020304" pitchFamily="18" charset="0"/>
              </a:rPr>
              <a:t>4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unciones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0030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6A2D8B"/>
            </a:gs>
            <a:gs pos="100000">
              <a:srgbClr val="EA1E79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1897062"/>
            <a:ext cx="11887200" cy="3741217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 smtClean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Forma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p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 dice: '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ap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4162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ED2124"/>
            </a:gs>
            <a:gs pos="100000">
              <a:srgbClr val="FCEB2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7200" cy="3854901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ajesPedro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ilter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en-US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)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ilte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319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07ABC3"/>
            </a:gs>
            <a:gs pos="100000">
              <a:srgbClr val="FCFE7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4638" y="2318138"/>
            <a:ext cx="11889566" cy="3064429"/>
          </a:xfrm>
          <a:solidFill>
            <a:srgbClr val="202020">
              <a:alpha val="70000"/>
            </a:srgb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marta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la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 err="1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dro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ios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smtClean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en-US" sz="1800" dirty="0" smtClean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admin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sg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800" dirty="0">
                <a:solidFill>
                  <a:srgbClr val="D69D85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'test'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]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umeroMensajes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uc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ndex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rray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=(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[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rrentValue</a:t>
            </a:r>
            <a:r>
              <a:rPr lang="en-US" sz="1800" dirty="0" err="1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ser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]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||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800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turn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 err="1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viousValue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,</a:t>
            </a:r>
            <a:r>
              <a:rPr lang="en-US" sz="1800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});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s-E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rabajando con datos: Reduce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5885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50000"/>
              </a:schemeClr>
            </a:gs>
            <a:gs pos="100000">
              <a:schemeClr val="bg1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8800" dirty="0" smtClean="0"/>
              <a:t>EcmaScript6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800" dirty="0" smtClean="0"/>
              <a:t>Coming soon  to a browser near you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5380037" y="3192462"/>
            <a:ext cx="533400" cy="6278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64756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D84276"/>
            </a:gs>
            <a:gs pos="100000">
              <a:srgbClr val="FEE78A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3968" y="1668462"/>
            <a:ext cx="11364469" cy="4908780"/>
          </a:xfrm>
          <a:solidFill>
            <a:schemeClr val="bg1">
              <a:lumMod val="75000"/>
              <a:alpha val="7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ction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foo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 err="1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f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ue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{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ar</a:t>
            </a:r>
            <a:r>
              <a:rPr lang="en-US" strike="sngStrike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a = 2; //</a:t>
            </a:r>
            <a:r>
              <a:rPr lang="en-US" strike="sngStrike" dirty="0" err="1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declaracion</a:t>
            </a:r>
            <a:endParaRPr lang="en-US" sz="3200" strike="sngStrike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a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</a:t>
            </a:r>
            <a:r>
              <a:rPr lang="en-US" dirty="0">
                <a:solidFill>
                  <a:srgbClr val="569CD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t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=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B5CEA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b=2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DCDCDC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2, b=1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B4B4B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}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dirty="0">
                <a:solidFill>
                  <a:srgbClr val="57A64A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/a=0,b=0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Let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is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he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new </a:t>
            </a:r>
            <a:r>
              <a:rPr lang="es-ES" b="1" strike="sngStrike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black</a:t>
            </a:r>
            <a:r>
              <a:rPr lang="es-ES" b="1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r>
              <a:rPr lang="es-ES" b="1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var</a:t>
            </a:r>
            <a:endParaRPr lang="en-US" b="1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9722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_v02.potx" id="{AE6B0D47-3488-4D7E-AEFE-4DBC34C239F2}" vid="{FE055DFB-2179-4F25-980C-29B98161779E}"/>
    </a:ext>
  </a:extLst>
</a:theme>
</file>

<file path=ppt/theme/theme2.xml><?xml version="1.0" encoding="utf-8"?>
<a:theme xmlns:a="http://schemas.openxmlformats.org/drawingml/2006/main" name="1_5-30629_Build_Template_DARK BLU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5D3B3FA9-0122-4B31-B139-E383C37B88CE}"/>
    </a:ext>
  </a:extLst>
</a:theme>
</file>

<file path=ppt/theme/theme3.xml><?xml version="1.0" encoding="utf-8"?>
<a:theme xmlns:a="http://schemas.openxmlformats.org/drawingml/2006/main" name="1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7B5DF659-5422-4FE0-B774-F31BE53950C5}" vid="{E3F4DD5B-E91A-4E2E-A066-DD68F9821E36}"/>
    </a:ext>
  </a:extLst>
</a:theme>
</file>

<file path=ppt/theme/theme4.xml><?xml version="1.0" encoding="utf-8"?>
<a:theme xmlns:a="http://schemas.openxmlformats.org/drawingml/2006/main" name="3_5-30629_Build_Template_WHITE">
  <a:themeElements>
    <a:clrScheme name="Build 2015">
      <a:dk1>
        <a:srgbClr val="404040"/>
      </a:dk1>
      <a:lt1>
        <a:srgbClr val="FFFFFF"/>
      </a:lt1>
      <a:dk2>
        <a:srgbClr val="00188F"/>
      </a:dk2>
      <a:lt2>
        <a:srgbClr val="FFFFFF"/>
      </a:lt2>
      <a:accent1>
        <a:srgbClr val="00188F"/>
      </a:accent1>
      <a:accent2>
        <a:srgbClr val="00BCF2"/>
      </a:accent2>
      <a:accent3>
        <a:srgbClr val="B4A0FF"/>
      </a:accent3>
      <a:accent4>
        <a:srgbClr val="BAD80A"/>
      </a:accent4>
      <a:accent5>
        <a:srgbClr val="FF8C00"/>
      </a:accent5>
      <a:accent6>
        <a:srgbClr val="00B294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lIns="91440" tIns="91440" rIns="34294" bIns="34294" anchor="b" anchorCtr="0"/>
      <a:lstStyle>
        <a:defPPr defTabSz="932406">
          <a:defRPr sz="8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uild_2015_Template.potx" id="{989475B9-DB6C-4EAF-8622-952BB3581377}" vid="{3DC98DF2-15D7-439F-8B72-0561DF431F4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9a868b2ee15488883f623ae5237ecae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scone Center</TermName>
          <TermId xmlns="http://schemas.microsoft.com/office/infopath/2007/PartnerControls">d4f36a2e-dd0d-4424-990f-7c93b4e9f063</TermId>
        </TermInfo>
      </Terms>
    </h9a868b2ee15488883f623ae5237ecae>
    <k62f7d35b80b40fb8c27985e50b34fcd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</TermName>
          <TermId xmlns="http://schemas.microsoft.com/office/infopath/2007/PartnerControls">58542b36-5bf5-46a6-a53f-a41fb7a73785</TermId>
        </TermInfo>
      </Terms>
    </k62f7d35b80b40fb8c27985e50b34fcd>
    <LikesCount xmlns="http://schemas.microsoft.com/sharepoint/v3" xsi:nil="true"/>
    <pfbfa50075a04958bd8757dc155d3e08 xmlns="12a172fe-0250-434a-85cf-03b10810c5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n Francisco</TermName>
          <TermId xmlns="http://schemas.microsoft.com/office/infopath/2007/PartnerControls">84dfcb53-432b-499d-8965-93d483d36b4a</TermId>
        </TermInfo>
      </Terms>
    </pfbfa50075a04958bd8757dc155d3e08>
    <Presentation_x0020_Date xmlns="12a172fe-0250-434a-85cf-03b10810c5e5">2015-04-29T00:00:00-07:00</Presentation_x0020_Date>
    <o72fbe6ee5ae4131af0832c08ec51202 xmlns="12a172fe-0250-434a-85cf-03b10810c5e5">
      <Terms xmlns="http://schemas.microsoft.com/office/infopath/2007/PartnerControls"/>
    </o72fbe6ee5ae4131af0832c08ec51202>
    <Event_x0020_Start_x0020_Date xmlns="12a172fe-0250-434a-85cf-03b10810c5e5">2015-04-29T07:00:00+00:00</Event_x0020_Start_x0020_Date>
    <MS_x0020_Content_x0020_Owner xmlns="12a172fe-0250-434a-85cf-03b10810c5e5">
      <UserInfo>
        <DisplayName/>
        <AccountId xsi:nil="true"/>
        <AccountType/>
      </UserInfo>
    </MS_x0020_Content_x0020_Owner>
    <MS_x0020_Speaker xmlns="12a172fe-0250-434a-85cf-03b10810c5e5">
      <UserInfo>
        <DisplayName/>
        <AccountId xsi:nil="true"/>
        <AccountType/>
      </UserInfo>
    </MS_x0020_Speaker>
    <External_x0020_Speaker xmlns="12a172fe-0250-434a-85cf-03b10810c5e5"> Kevin Miller</External_x0020_Speaker>
    <Session_x0020_Code xmlns="12a172fe-0250-434a-85cf-03b10810c5e5">2-611</Session_x0020_Code>
    <le8386062bd54e24a95c83b32ccbdb34 xmlns="12a172fe-0250-434a-85cf-03b10810c5e5">
      <Terms xmlns="http://schemas.microsoft.com/office/infopath/2007/PartnerControls"/>
    </le8386062bd54e24a95c83b32ccbdb34>
    <j4d4d959795b4220a289a041ed046605 xmlns="12a172fe-0250-434a-85cf-03b10810c5e5">
      <Terms xmlns="http://schemas.microsoft.com/office/infopath/2007/PartnerControls"/>
    </j4d4d959795b4220a289a041ed046605>
    <Event_x0020_End_x0020_Date xmlns="12a172fe-0250-434a-85cf-03b10810c5e5">2015-05-01T07:00:00+00:00</Event_x0020_End_x0020_Date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ild 2015</TermName>
          <TermId xmlns="http://schemas.microsoft.com/office/infopath/2007/PartnerControls">54419920-0a06-43b0-b2df-79127b266d93</TermId>
        </TermInfo>
      </Terms>
    </TaxKeywordTaxHTField>
    <TaxCatchAll xmlns="230e9df3-be65-4c73-a93b-d1236ebd677e">
      <Value>173</Value>
      <Value>172</Value>
      <Value>171</Value>
      <Value>170</Value>
    </TaxCatchAll>
    <eb9cf3a3af7b473faa5c9c98148a90a4 xmlns="12a172fe-0250-434a-85cf-03b10810c5e5">
      <Terms xmlns="http://schemas.microsoft.com/office/infopath/2007/PartnerControls"/>
    </eb9cf3a3af7b473faa5c9c98148a90a4>
    <SharingHintHash xmlns="12a172fe-0250-434a-85cf-03b10810c5e5">-103767253</SharingHintHash>
    <SharedWithUsers xmlns="12a172fe-0250-434a-85cf-03b10810c5e5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46EBBE4F454C2C47A5E89CD935B1FC7800E83BCD34BAE21044A0567CF64FDFDE54" ma:contentTypeVersion="5" ma:contentTypeDescription="Create a new document." ma:contentTypeScope="" ma:versionID="9f49739d1da212619d044bf1bfa27251">
  <xsd:schema xmlns:xsd="http://www.w3.org/2001/XMLSchema" xmlns:xs="http://www.w3.org/2001/XMLSchema" xmlns:p="http://schemas.microsoft.com/office/2006/metadata/properties" xmlns:ns1="http://schemas.microsoft.com/sharepoint/v3" xmlns:ns2="12a172fe-0250-434a-85cf-03b10810c5e5" xmlns:ns3="230e9df3-be65-4c73-a93b-d1236ebd677e" targetNamespace="http://schemas.microsoft.com/office/2006/metadata/properties" ma:root="true" ma:fieldsID="d1ec06fbcf9feb71c233288b468d8e39" ns1:_="" ns2:_="" ns3:_="">
    <xsd:import namespace="http://schemas.microsoft.com/sharepoint/v3"/>
    <xsd:import namespace="12a172fe-0250-434a-85cf-03b10810c5e5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k62f7d35b80b40fb8c27985e50b34fcd" minOccurs="0"/>
                <xsd:element ref="ns3:TaxCatchAll" minOccurs="0"/>
                <xsd:element ref="ns3:TaxCatchAllLabel" minOccurs="0"/>
                <xsd:element ref="ns2:pfbfa50075a04958bd8757dc155d3e08" minOccurs="0"/>
                <xsd:element ref="ns2:h9a868b2ee15488883f623ae5237ecae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72fbe6ee5ae4131af0832c08ec51202" minOccurs="0"/>
                <xsd:element ref="ns2:eb9cf3a3af7b473faa5c9c98148a90a4" minOccurs="0"/>
                <xsd:element ref="ns2:Session_x0020_Code" minOccurs="0"/>
                <xsd:element ref="ns2:MS_x0020_Content_x0020_Owner" minOccurs="0"/>
                <xsd:element ref="ns2:le8386062bd54e24a95c83b32ccbdb34" minOccurs="0"/>
                <xsd:element ref="ns2:j4d4d959795b4220a289a041ed046605" minOccurs="0"/>
                <xsd:element ref="ns3:TaxKeywordTaxHTField" minOccurs="0"/>
                <xsd:element ref="ns1:AverageRating" minOccurs="0"/>
                <xsd:element ref="ns1:RatingCount" minOccurs="0"/>
                <xsd:element ref="ns1:LikesCount" minOccurs="0"/>
                <xsd:element ref="ns2:SharedWithUsers" minOccurs="0"/>
                <xsd:element ref="ns2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5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a172fe-0250-434a-85cf-03b10810c5e5" elementFormDefault="qualified">
    <xsd:import namespace="http://schemas.microsoft.com/office/2006/documentManagement/types"/>
    <xsd:import namespace="http://schemas.microsoft.com/office/infopath/2007/PartnerControls"/>
    <xsd:element name="k62f7d35b80b40fb8c27985e50b34fcd" ma:index="8" nillable="true" ma:taxonomy="true" ma:internalName="k62f7d35b80b40fb8c27985e50b34fcd" ma:taxonomyFieldName="Event_x0020_Name" ma:displayName="Event Name" ma:default="" ma:fieldId="{462f7d35-b80b-40fb-8c27-985e50b34fcd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pfbfa50075a04958bd8757dc155d3e08" ma:index="12" nillable="true" ma:taxonomy="true" ma:internalName="pfbfa50075a04958bd8757dc155d3e08" ma:taxonomyFieldName="Event_x0020_Location" ma:displayName="Event Location" ma:default="" ma:fieldId="{9fbfa500-75a0-4958-bd87-57dc155d3e08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9a868b2ee15488883f623ae5237ecae" ma:index="14" nillable="true" ma:taxonomy="true" ma:internalName="h9a868b2ee15488883f623ae5237ecae" ma:taxonomyFieldName="Event_x0020_Venue" ma:displayName="Event Venue" ma:default="" ma:fieldId="{19a868b2-ee15-4888-83f6-23ae5237ecae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72fbe6ee5ae4131af0832c08ec51202" ma:index="21" nillable="true" ma:taxonomy="true" ma:internalName="o72fbe6ee5ae4131af0832c08ec51202" ma:taxonomyFieldName="Product" ma:displayName="Product" ma:default="" ma:fieldId="{872fbe6e-e5ae-4131-af08-32c08ec51202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9cf3a3af7b473faa5c9c98148a90a4" ma:index="23" nillable="true" ma:taxonomy="true" ma:internalName="eb9cf3a3af7b473faa5c9c98148a90a4" ma:taxonomyFieldName="Campaign" ma:displayName="Campaign" ma:default="" ma:fieldId="{eb9cf3a3-af7b-473f-aa5c-9c98148a90a4}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8386062bd54e24a95c83b32ccbdb34" ma:index="27" nillable="true" ma:taxonomy="true" ma:internalName="le8386062bd54e24a95c83b32ccbdb34" ma:taxonomyFieldName="Track" ma:displayName="Track" ma:default="" ma:fieldId="{5e838606-2bd5-4e24-a95c-83b32ccbdb34}" ma:sspId="e385fb40-52d4-4fae-9c5b-3e8ff8a5878e" ma:termSetId="043e2b11-12ce-49cc-a347-2f73f2b7fe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4d4d959795b4220a289a041ed046605" ma:index="29" nillable="true" ma:taxonomy="true" ma:internalName="j4d4d959795b4220a289a041ed046605" ma:taxonomyFieldName="Audience1" ma:displayName="Audience" ma:default="" ma:fieldId="{34d4d959-795b-4220-a289-a041ed046605}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38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hidden="true" ma:list="{5b797c71-5459-41dc-9095-63a63c56aa91}" ma:internalName="TaxCatchAll" ma:showField="CatchAllData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b797c71-5459-41dc-9095-63a63c56aa91}" ma:internalName="TaxCatchAllLabel" ma:readOnly="true" ma:showField="CatchAllDataLabel" ma:web="12a172fe-0250-434a-85cf-03b10810c5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1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90F116-B58F-4255-B05B-DA3808E0E5C6}">
  <ds:schemaRefs>
    <ds:schemaRef ds:uri="http://purl.org/dc/dcmitype/"/>
    <ds:schemaRef ds:uri="230e9df3-be65-4c73-a93b-d1236ebd677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purl.org/dc/terms/"/>
    <ds:schemaRef ds:uri="12a172fe-0250-434a-85cf-03b10810c5e5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9E0065C-627B-42FD-A7AD-D2ABAFAC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2a172fe-0250-434a-85cf-03b10810c5e5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ild_2015_Template_v03</Template>
  <TotalTime>684</TotalTime>
  <Words>731</Words>
  <Application>Microsoft Office PowerPoint</Application>
  <PresentationFormat>Custom</PresentationFormat>
  <Paragraphs>269</Paragraphs>
  <Slides>2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Arial</vt:lpstr>
      <vt:lpstr>Avenir LT Pro 45 Book</vt:lpstr>
      <vt:lpstr>Calibri</vt:lpstr>
      <vt:lpstr>Consolas</vt:lpstr>
      <vt:lpstr>ＭＳ Ｐゴシック</vt:lpstr>
      <vt:lpstr>Segoe UI</vt:lpstr>
      <vt:lpstr>Segoe UI Light</vt:lpstr>
      <vt:lpstr>Times New Roman</vt:lpstr>
      <vt:lpstr>5-30629_Build_Template_WHITE</vt:lpstr>
      <vt:lpstr>1_5-30629_Build_Template_DARK BLUE</vt:lpstr>
      <vt:lpstr>1_5-30629_Build_Template_WHITE</vt:lpstr>
      <vt:lpstr>3_5-30629_Build_Template_WHITE</vt:lpstr>
      <vt:lpstr>think-cell Slide</vt:lpstr>
      <vt:lpstr>PowerPoint Presentation</vt:lpstr>
      <vt:lpstr>Programación funcional</vt:lpstr>
      <vt:lpstr>Es JS un lenguaje funcional?</vt:lpstr>
      <vt:lpstr>Funciones</vt:lpstr>
      <vt:lpstr>Trabajando con datos: Map</vt:lpstr>
      <vt:lpstr>Trabajando con datos: Filter</vt:lpstr>
      <vt:lpstr>Trabajando con datos: Reduce</vt:lpstr>
      <vt:lpstr>EcmaScript6 Coming soon  to a browser near you</vt:lpstr>
      <vt:lpstr>Let is the new black var</vt:lpstr>
      <vt:lpstr>Const</vt:lpstr>
      <vt:lpstr>Const</vt:lpstr>
      <vt:lpstr>Spread / Rest</vt:lpstr>
      <vt:lpstr>Spread / Rest</vt:lpstr>
      <vt:lpstr>Argumentos por defecto</vt:lpstr>
      <vt:lpstr>Argumentos por defecto</vt:lpstr>
      <vt:lpstr>Asignación desestructurada</vt:lpstr>
      <vt:lpstr>Funciones lambda con =&gt;</vt:lpstr>
      <vt:lpstr>For of</vt:lpstr>
      <vt:lpstr>Modulos</vt:lpstr>
      <vt:lpstr>Clases</vt:lpstr>
      <vt:lpstr>Maps &amp; Sets</vt:lpstr>
      <vt:lpstr>Maps &amp; Sets</vt:lpstr>
      <vt:lpstr>Typed arrays</vt:lpstr>
      <vt:lpstr>Template strings </vt:lpstr>
      <vt:lpstr>Herramientas útiles</vt:lpstr>
      <vt:lpstr>Recursos avanzados de JavaScript</vt:lpstr>
      <vt:lpstr>PowerPoint Presentatio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Practices for Creating IoT Solutions with Azure</dc:title>
  <dc:subject>Build 2015</dc:subject>
  <dc:creator>Shows</dc:creator>
  <cp:keywords>Build 2015</cp:keywords>
  <dc:description>Template: Mitchell Derrey, Silver Fox Productions
Formatting: 
Audience Type:</dc:description>
  <cp:lastModifiedBy>Arcadio García</cp:lastModifiedBy>
  <cp:revision>112</cp:revision>
  <dcterms:created xsi:type="dcterms:W3CDTF">2015-04-29T17:53:46Z</dcterms:created>
  <dcterms:modified xsi:type="dcterms:W3CDTF">2015-09-30T17:3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BBE4F454C2C47A5E89CD935B1FC7800E83BCD34BAE21044A0567CF64FDFDE54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3;#Moscone Center|d4f36a2e-dd0d-4424-990f-7c93b4e9f063</vt:lpwstr>
  </property>
  <property fmtid="{D5CDD505-2E9C-101B-9397-08002B2CF9AE}" pid="7" name="Track">
    <vt:lpwstr/>
  </property>
  <property fmtid="{D5CDD505-2E9C-101B-9397-08002B2CF9AE}" pid="8" name="Event Location">
    <vt:lpwstr>172;#San Francisco|84dfcb53-432b-499d-8965-93d483d36b4a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Audience1">
    <vt:lpwstr/>
  </property>
  <property fmtid="{D5CDD505-2E9C-101B-9397-08002B2CF9AE}" pid="12" name="TaxKeyword">
    <vt:lpwstr>170;#Build 2015|54419920-0a06-43b0-b2df-79127b266d93</vt:lpwstr>
  </property>
  <property fmtid="{D5CDD505-2E9C-101B-9397-08002B2CF9AE}" pid="13" name="Event Name">
    <vt:lpwstr>171;#BUILD|58542b36-5bf5-46a6-a53f-a41fb7a73785</vt:lpwstr>
  </property>
</Properties>
</file>